
<file path=[Content_Types].xml><?xml version="1.0" encoding="utf-8"?>
<Types xmlns="http://schemas.openxmlformats.org/package/2006/content-types">
  <Override PartName="/ppt/tags/tag1.xml" ContentType="application/vnd.openxmlformats-officedocument.presentationml.tags+xml"/>
  <Default Extension="rels" ContentType="application/vnd.openxmlformats-package.relationships+xml"/>
  <Override PartName="/ppt/slideLayouts/slideLayout1.xml" ContentType="application/vnd.openxmlformats-officedocument.presentationml.slideLayout+xml"/>
  <Default Extension="png" ContentType="image/png"/>
  <Default Extension="jpeg" ContentType="image/jpeg"/>
  <Default Extension="xml" ContentType="application/xml"/>
  <Override PartName="/ppt/tags/tag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8.xml" ContentType="application/vnd.openxmlformats-officedocument.presentationml.slideLayout+xml"/>
  <Override PartName="/ppt/slides/slide7.xml" ContentType="application/vnd.openxmlformats-officedocument.presentationml.slide+xml"/>
  <Override PartName="/ppt/tags/tag6.xml" ContentType="application/vnd.openxmlformats-officedocument.presentationml.tags+xml"/>
  <Override PartName="/ppt/slideLayouts/slideLayout6.xml" ContentType="application/vnd.openxmlformats-officedocument.presentationml.slideLayout+xml"/>
  <Override PartName="/ppt/slides/slide5.xml" ContentType="application/vnd.openxmlformats-officedocument.presentationml.slide+xml"/>
  <Override PartName="/ppt/tags/tag4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10.xml" ContentType="application/vnd.openxmlformats-officedocument.presentationml.slideLayout+xml"/>
  <Override PartName="/docProps/core.xml" ContentType="application/vnd.openxmlformats-package.core-propertie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ppt/slideLayouts/slideLayout2.xml" ContentType="application/vnd.openxmlformats-officedocument.presentationml.slideLayout+xml"/>
  <Override PartName="/ppt/slides/slide1.xml" ContentType="application/vnd.openxmlformats-officedocument.presentationml.slide+xml"/>
  <Default Extension="bin" ContentType="application/vnd.openxmlformats-officedocument.presentationml.printerSettings"/>
  <Override PartName="/ppt/revisionInfo.xml" ContentType="application/vnd.ms-powerpoint.revisioninfo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presentation.xml" ContentType="application/vnd.openxmlformats-officedocument.presentationml.presentation.main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slides/slide6.xml" ContentType="application/vnd.openxmlformats-officedocument.presentationml.slide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.xml" ContentType="application/vnd.openxmlformats-officedocument.presentationml.tags+xml"/>
  <Override PartName="/ppt/presProps.xml" ContentType="application/vnd.openxmlformats-officedocument.presentationml.presProps+xml"/>
  <Override PartName="/ppt/theme/theme1.xml" ContentType="application/vnd.openxmlformats-officedocument.theme+xml"/>
  <Override PartName="/ppt/slideLayouts/slideLayout3.xml" ContentType="application/vnd.openxmlformats-officedocument.presentationml.slideLayout+xml"/>
  <Override PartName="/ppt/slides/slide2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aveSubsetFonts="1" autoCompressPictures="0">
  <p:sldMasterIdLst>
    <p:sldMasterId id="2147483648" r:id="rId1"/>
  </p:sldMasterIdLst>
  <p:sldIdLst>
    <p:sldId id="256" r:id="rId2"/>
    <p:sldId id="257" r:id="rId3"/>
    <p:sldId id="258" r:id="rId4"/>
    <p:sldId id="259" r:id="rId5"/>
    <p:sldId id="260" r:id="rId6"/>
    <p:sldId id="262" r:id="rId7"/>
    <p:sldId id="261" r:id="rId8"/>
  </p:sldIdLst>
  <p:sldSz cx="12188825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>
        <p15:guide id="1" orient="horz" pos="2160">
          <p15:clr>
            <a:srgbClr val="A4A3A4"/>
          </p15:clr>
        </p15:guide>
        <p15:guide id="2" pos="383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E63DCBE-7D45-4786-AA64-1873A0A4BE2B}" v="203" dt="2024-04-03T00:29:17.10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>
    <p:restoredLeft sz="15620"/>
    <p:restoredTop sz="94660"/>
  </p:normalViewPr>
  <p:slideViewPr>
    <p:cSldViewPr snapToGrid="0" snapToObjects="1">
      <p:cViewPr>
        <p:scale>
          <a:sx n="100" d="100"/>
          <a:sy n="100" d="100"/>
        </p:scale>
        <p:origin x="208" y="-40"/>
      </p:cViewPr>
      <p:guideLst>
        <p:guide orient="horz" pos="2160"/>
        <p:guide pos="3839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viewProps" Target="viewProps.xml"/><Relationship Id="rId12" Type="http://schemas.openxmlformats.org/officeDocument/2006/relationships/theme" Target="theme/theme1.xml"/><Relationship Id="rId13" Type="http://schemas.openxmlformats.org/officeDocument/2006/relationships/tableStyles" Target="tableStyles.xml"/><Relationship Id="rId14" Type="http://schemas.microsoft.com/office/2015/10/relationships/revisionInfo" Target="revisionInfo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printerSettings" Target="printerSettings/printerSettings1.bin"/><Relationship Id="rId10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162" y="2130426"/>
            <a:ext cx="10360501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324" y="3886200"/>
            <a:ext cx="853217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780415" y="274639"/>
            <a:ext cx="3654531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12589" y="274639"/>
            <a:ext cx="1076468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833" y="4406901"/>
            <a:ext cx="1036050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833" y="2906713"/>
            <a:ext cx="1036050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12589" y="1600201"/>
            <a:ext cx="720960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225341" y="1600201"/>
            <a:ext cx="720960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274638"/>
            <a:ext cx="10969943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535113"/>
            <a:ext cx="538551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174875"/>
            <a:ext cx="538551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535113"/>
            <a:ext cx="538763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1754" y="2174875"/>
            <a:ext cx="538763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5492" y="273051"/>
            <a:ext cx="681389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2" y="1435101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095" y="4800600"/>
            <a:ext cx="731329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095" y="612775"/>
            <a:ext cx="731329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095" y="5367338"/>
            <a:ext cx="731329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274638"/>
            <a:ext cx="1096994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600201"/>
            <a:ext cx="10969943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441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ECEF99-3CA1-CA43-B497-8445FA9CE8D8}" type="datetimeFigureOut">
              <a:rPr lang="en-US" smtClean="0"/>
              <a:pPr/>
              <a:t>4/2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515" y="6356351"/>
            <a:ext cx="385979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5325" y="6356351"/>
            <a:ext cx="284405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203DAB-95DF-DA4C-8D98-676AA83AE3E9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jpeg"/><Relationship Id="rId3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Relationship Id="rId3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tags" Target="../tags/tag6.xml"/><Relationship Id="rId7" Type="http://schemas.openxmlformats.org/officeDocument/2006/relationships/tags" Target="../tags/tag7.xml"/><Relationship Id="rId8" Type="http://schemas.openxmlformats.org/officeDocument/2006/relationships/tags" Target="../tags/tag8.xml"/><Relationship Id="rId9" Type="http://schemas.openxmlformats.org/officeDocument/2006/relationships/slideLayout" Target="../slideLayouts/slideLayout1.xml"/><Relationship Id="rId10" Type="http://schemas.openxmlformats.org/officeDocument/2006/relationships/image" Target="../media/image3.jpeg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" name="Picture 90" descr="1206951209103034_Breakthrough_Supply_Chains_Branded_Slides_and_Graphic-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pic>
        <p:nvPicPr>
          <p:cNvPr id="92" name="Picture 91" descr="Breakthrough Supply_3D_Book_Cover_R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13745" y="982131"/>
            <a:ext cx="6858000" cy="6858000"/>
          </a:xfrm>
          <a:prstGeom prst="rect">
            <a:avLst/>
          </a:prstGeom>
        </p:spPr>
      </p:pic>
      <p:sp>
        <p:nvSpPr>
          <p:cNvPr id="94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C03061-7185-8A9F-DDA1-80E8D9D6C8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5554" y="1625600"/>
            <a:ext cx="5020370" cy="3943250"/>
          </a:xfrm>
        </p:spPr>
        <p:txBody>
          <a:bodyPr>
            <a:normAutofit/>
          </a:bodyPr>
          <a:lstStyle/>
          <a:p>
            <a:pPr algn="l">
              <a:lnSpc>
                <a:spcPct val="90000"/>
              </a:lnSpc>
            </a:pPr>
            <a: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Breakthrough Supply Chains: </a:t>
            </a:r>
            <a:b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How Companies And Nations </a:t>
            </a:r>
            <a:b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Can Thrive And Prosper In An </a:t>
            </a:r>
            <a:b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2600" b="1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Uncertain World</a:t>
            </a:r>
            <a:r>
              <a:rPr lang="en-US" sz="1800" b="1" dirty="0">
                <a:latin typeface="Calibri"/>
                <a:ea typeface="Times New Roman" panose="02020603050405020304" pitchFamily="18" charset="0"/>
                <a:cs typeface="Proxima Nova"/>
              </a:rPr>
              <a:t/>
            </a:r>
            <a:br>
              <a:rPr lang="en-US" sz="1800" b="1" dirty="0"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1800" b="1" dirty="0">
                <a:latin typeface="Calibri"/>
                <a:ea typeface="Times New Roman" panose="02020603050405020304" pitchFamily="18" charset="0"/>
                <a:cs typeface="Proxima Nova"/>
              </a:rPr>
              <a:t/>
            </a:r>
            <a:br>
              <a:rPr lang="en-US" sz="1800" b="1" dirty="0"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1800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Gopal, Tyndall, Iakovou, Partsch</a:t>
            </a:r>
            <a:r>
              <a:rPr lang="en-US" sz="1800" dirty="0">
                <a:latin typeface="Calibri"/>
                <a:ea typeface="Times New Roman" panose="02020603050405020304" pitchFamily="18" charset="0"/>
                <a:cs typeface="Proxima Nova"/>
              </a:rPr>
              <a:t/>
            </a:r>
            <a:br>
              <a:rPr lang="en-US" sz="1800" dirty="0"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1800" dirty="0">
                <a:latin typeface="Calibri"/>
                <a:ea typeface="Times New Roman" panose="02020603050405020304" pitchFamily="18" charset="0"/>
                <a:cs typeface="Proxima Nova"/>
              </a:rPr>
              <a:t/>
            </a:r>
            <a:br>
              <a:rPr lang="en-US" sz="1800" dirty="0">
                <a:latin typeface="Calibri"/>
                <a:ea typeface="Times New Roman" panose="02020603050405020304" pitchFamily="18" charset="0"/>
                <a:cs typeface="Proxima Nova"/>
              </a:rPr>
            </a:br>
            <a:r>
              <a:rPr lang="en-US" sz="1300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ISBN: 978-1-264-98966-9 •</a:t>
            </a:r>
            <a:r>
              <a:rPr lang="en-US" sz="1300" dirty="0">
                <a:latin typeface="Calibri"/>
                <a:ea typeface="Times New Roman" panose="02020603050405020304" pitchFamily="18" charset="0"/>
                <a:cs typeface="Proxima Nova"/>
              </a:rPr>
              <a:t> </a:t>
            </a:r>
            <a:r>
              <a:rPr lang="en-US" sz="1300" dirty="0">
                <a:effectLst/>
                <a:latin typeface="Calibri"/>
                <a:ea typeface="Times New Roman" panose="02020603050405020304" pitchFamily="18" charset="0"/>
                <a:cs typeface="Proxima Nova"/>
              </a:rPr>
              <a:t> e-ISBN: 978-1-264-99188-4</a:t>
            </a:r>
            <a:endParaRPr lang="en-US" sz="1300">
              <a:latin typeface="Times New Roman"/>
              <a:ea typeface="Calibri"/>
              <a:cs typeface="Proxima No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8" name="Picture 167" descr="1206951209103034_Breakthrough_Supply_Chains_Branded_Slides_and_Graphic-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pic>
        <p:nvPicPr>
          <p:cNvPr id="28" name="Picture 27" descr="PAGE 2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59794" y="1618795"/>
            <a:ext cx="6772656" cy="4328160"/>
          </a:xfrm>
          <a:prstGeom prst="rect">
            <a:avLst/>
          </a:prstGeom>
        </p:spPr>
      </p:pic>
      <p:sp>
        <p:nvSpPr>
          <p:cNvPr id="54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1AA43D6-7DEB-F44B-DA24-51BB6CE05CCB}"/>
              </a:ext>
            </a:extLst>
          </p:cNvPr>
          <p:cNvSpPr txBox="1">
            <a:spLocks/>
          </p:cNvSpPr>
          <p:nvPr/>
        </p:nvSpPr>
        <p:spPr bwMode="auto">
          <a:xfrm>
            <a:off x="503397" y="780031"/>
            <a:ext cx="11109751" cy="672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284794"/>
                </a:solidFill>
                <a:latin typeface="Calibri"/>
                <a:ea typeface="ＭＳ Ｐゴシック" charset="-128"/>
                <a:cs typeface="Calibri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284794"/>
                </a:solidFill>
                <a:latin typeface="Calibri" charset="0"/>
                <a:ea typeface="ＭＳ Ｐゴシック" charset="-128"/>
                <a:cs typeface="Calibri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284794"/>
                </a:solidFill>
                <a:latin typeface="Calibri" charset="0"/>
                <a:ea typeface="ＭＳ Ｐゴシック" charset="-128"/>
                <a:cs typeface="Calibri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284794"/>
                </a:solidFill>
                <a:latin typeface="Calibri" charset="0"/>
                <a:ea typeface="ＭＳ Ｐゴシック" charset="-128"/>
                <a:cs typeface="Calibri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284794"/>
                </a:solidFill>
                <a:latin typeface="Calibri" charset="0"/>
                <a:ea typeface="ＭＳ Ｐゴシック" charset="-128"/>
                <a:cs typeface="Calibri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2"/>
                </a:solidFill>
                <a:latin typeface="Arial" charset="0"/>
              </a:defRPr>
            </a:lvl9pPr>
          </a:lstStyle>
          <a:p>
            <a:pPr algn="ctr"/>
            <a:r>
              <a:rPr lang="en-US" sz="2500" kern="0" dirty="0">
                <a:solidFill>
                  <a:schemeClr val="tx1"/>
                </a:solidFill>
                <a:ea typeface="ＭＳ Ｐゴシック"/>
                <a:cs typeface="Proxima Nova"/>
              </a:rPr>
              <a:t>The  Holistic End-to-End (E2E) Supply Chain– a “systems” perspective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1FC017-E093-9F43-A279-4F788377431A}"/>
              </a:ext>
            </a:extLst>
          </p:cNvPr>
          <p:cNvSpPr txBox="1"/>
          <p:nvPr/>
        </p:nvSpPr>
        <p:spPr>
          <a:xfrm>
            <a:off x="3313602" y="2897124"/>
            <a:ext cx="750398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Suppliers 2-n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0C6036C-F036-034B-8BCD-AF27C78B2CDE}"/>
              </a:ext>
            </a:extLst>
          </p:cNvPr>
          <p:cNvSpPr txBox="1"/>
          <p:nvPr/>
        </p:nvSpPr>
        <p:spPr>
          <a:xfrm>
            <a:off x="4496528" y="2846324"/>
            <a:ext cx="54941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Tier 1 Supplier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8CB4E8C-3C31-C241-BB92-ACCD4CE3E811}"/>
              </a:ext>
            </a:extLst>
          </p:cNvPr>
          <p:cNvSpPr txBox="1"/>
          <p:nvPr/>
        </p:nvSpPr>
        <p:spPr>
          <a:xfrm>
            <a:off x="5218993" y="2588577"/>
            <a:ext cx="478826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Inbound DC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18315E3-3C16-3243-A94C-DF78EFD1A9D8}"/>
              </a:ext>
            </a:extLst>
          </p:cNvPr>
          <p:cNvSpPr txBox="1"/>
          <p:nvPr/>
        </p:nvSpPr>
        <p:spPr>
          <a:xfrm>
            <a:off x="5698821" y="2362173"/>
            <a:ext cx="1084313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Manufacturing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Ms, ODMs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o-Packing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onversion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D52CE8-7CC6-C248-825A-B4F0F141CEC0}"/>
              </a:ext>
            </a:extLst>
          </p:cNvPr>
          <p:cNvSpPr txBox="1"/>
          <p:nvPr/>
        </p:nvSpPr>
        <p:spPr>
          <a:xfrm>
            <a:off x="6240304" y="3710144"/>
            <a:ext cx="727391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Outbound DCs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98D7912-C858-204A-A4A1-328216212E79}"/>
              </a:ext>
            </a:extLst>
          </p:cNvPr>
          <p:cNvSpPr txBox="1"/>
          <p:nvPr/>
        </p:nvSpPr>
        <p:spPr>
          <a:xfrm>
            <a:off x="6403247" y="2343862"/>
            <a:ext cx="71932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hannel Regional DCs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Fulfillment Centers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F140D66-1FC6-6D4C-AE6C-7E5FF4668DCA}"/>
              </a:ext>
            </a:extLst>
          </p:cNvPr>
          <p:cNvSpPr txBox="1"/>
          <p:nvPr/>
        </p:nvSpPr>
        <p:spPr>
          <a:xfrm>
            <a:off x="7193266" y="2494532"/>
            <a:ext cx="1018848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ustomer DCs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Fulfillment Center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85BAC1-1815-2641-8D06-8702F72CA8F7}"/>
              </a:ext>
            </a:extLst>
          </p:cNvPr>
          <p:cNvSpPr txBox="1"/>
          <p:nvPr/>
        </p:nvSpPr>
        <p:spPr>
          <a:xfrm>
            <a:off x="7225068" y="3750278"/>
            <a:ext cx="817575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Retail Stores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ustomer Sites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5E2027A-8592-DE45-B16B-A46A5783831C}"/>
              </a:ext>
            </a:extLst>
          </p:cNvPr>
          <p:cNvSpPr txBox="1"/>
          <p:nvPr/>
        </p:nvSpPr>
        <p:spPr>
          <a:xfrm>
            <a:off x="7401481" y="3354446"/>
            <a:ext cx="742901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Final Mile</a:t>
            </a:r>
          </a:p>
          <a:p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Network</a:t>
            </a: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8195043" y="3931752"/>
            <a:ext cx="938802" cy="4039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ustomers</a:t>
            </a:r>
          </a:p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Consumers</a:t>
            </a:r>
          </a:p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Product/Service User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324B70C-7F5A-B2EC-0E1B-C43CD713FD87}"/>
              </a:ext>
            </a:extLst>
          </p:cNvPr>
          <p:cNvSpPr txBox="1"/>
          <p:nvPr/>
        </p:nvSpPr>
        <p:spPr>
          <a:xfrm>
            <a:off x="3845418" y="1629901"/>
            <a:ext cx="1200528" cy="3539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700" b="1" dirty="0">
                <a:solidFill>
                  <a:schemeClr val="accent5"/>
                </a:solidFill>
                <a:latin typeface="Calibri"/>
                <a:ea typeface="Calibri"/>
                <a:cs typeface="Proxima Nova"/>
              </a:rPr>
              <a:t>Supply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C254D3-C703-F4D2-4DDB-E048D41B1C44}"/>
              </a:ext>
            </a:extLst>
          </p:cNvPr>
          <p:cNvSpPr txBox="1"/>
          <p:nvPr/>
        </p:nvSpPr>
        <p:spPr>
          <a:xfrm>
            <a:off x="7529054" y="1629900"/>
            <a:ext cx="1230656" cy="3539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700" b="1" dirty="0">
                <a:solidFill>
                  <a:schemeClr val="tx2">
                    <a:lumMod val="75000"/>
                  </a:schemeClr>
                </a:solidFill>
                <a:latin typeface="Calibri"/>
                <a:ea typeface="Calibri"/>
                <a:cs typeface="Proxima Nova"/>
              </a:rPr>
              <a:t>Demand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6CFD638-AD18-A161-DF63-A59131CB6C48}"/>
              </a:ext>
            </a:extLst>
          </p:cNvPr>
          <p:cNvSpPr txBox="1"/>
          <p:nvPr/>
        </p:nvSpPr>
        <p:spPr>
          <a:xfrm>
            <a:off x="5630087" y="1541000"/>
            <a:ext cx="1309404" cy="3539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700" b="1" dirty="0">
                <a:solidFill>
                  <a:srgbClr val="C0504D"/>
                </a:solidFill>
                <a:latin typeface="Calibri"/>
                <a:ea typeface="Calibri"/>
                <a:cs typeface="Proxima Nova"/>
              </a:rPr>
              <a:t>Operation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C254D3-C703-F4D2-4DDB-E048D41B1C44}"/>
              </a:ext>
            </a:extLst>
          </p:cNvPr>
          <p:cNvSpPr txBox="1"/>
          <p:nvPr/>
        </p:nvSpPr>
        <p:spPr>
          <a:xfrm>
            <a:off x="7966689" y="3129363"/>
            <a:ext cx="342793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>
                <a:solidFill>
                  <a:schemeClr val="bg1"/>
                </a:solidFill>
                <a:latin typeface="Proxima Nova"/>
                <a:cs typeface="Proxima Nova"/>
              </a:rPr>
              <a:t>B</a:t>
            </a:r>
            <a:endParaRPr lang="en-US" sz="1500" b="1" dirty="0">
              <a:solidFill>
                <a:schemeClr val="bg1"/>
              </a:solidFill>
              <a:latin typeface="Proxima Nova"/>
              <a:cs typeface="Proxima Nova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CC254D3-C703-F4D2-4DDB-E048D41B1C44}"/>
              </a:ext>
            </a:extLst>
          </p:cNvPr>
          <p:cNvSpPr txBox="1"/>
          <p:nvPr/>
        </p:nvSpPr>
        <p:spPr>
          <a:xfrm>
            <a:off x="8616688" y="3154763"/>
            <a:ext cx="52985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500" b="1" dirty="0" smtClean="0">
                <a:solidFill>
                  <a:srgbClr val="FFFFFF"/>
                </a:solidFill>
                <a:latin typeface="Proxima Nova"/>
                <a:cs typeface="Proxima Nova"/>
              </a:rPr>
              <a:t>C</a:t>
            </a:r>
            <a:endParaRPr lang="en-US" sz="1500" b="1" dirty="0">
              <a:solidFill>
                <a:srgbClr val="FFFFFF"/>
              </a:solidFill>
              <a:latin typeface="Proxima Nova"/>
              <a:cs typeface="Proxima Nova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6783134" y="4541181"/>
            <a:ext cx="93880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Return Depot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5621620" y="4488109"/>
            <a:ext cx="93880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Inspection/</a:t>
            </a:r>
          </a:p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Refurbish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4235222" y="4473445"/>
            <a:ext cx="93880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Value</a:t>
            </a:r>
          </a:p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Recovery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3057462" y="4541181"/>
            <a:ext cx="938802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75" b="1" dirty="0">
                <a:latin typeface="Calibri" panose="020F0502020204030204" pitchFamily="34" charset="0"/>
                <a:cs typeface="Calibri" panose="020F0502020204030204" pitchFamily="34" charset="0"/>
              </a:rPr>
              <a:t>Disposal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3182099" y="4864388"/>
            <a:ext cx="5951745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latin typeface="Proxima Nova"/>
                <a:cs typeface="Proxima Nova"/>
              </a:rPr>
              <a:t>Logistics: Warehousing + Ocean, Air, Rail, Road (Last Mile Logistics)</a:t>
            </a:r>
          </a:p>
          <a:p>
            <a:pPr algn="ctr"/>
            <a:endParaRPr lang="en-US" sz="675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3177866" y="5124872"/>
            <a:ext cx="5951745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latin typeface="Proxima Nova"/>
                <a:cs typeface="Proxima Nova"/>
              </a:rPr>
              <a:t>Cash, Cost &amp; Financing</a:t>
            </a:r>
          </a:p>
          <a:p>
            <a:pPr algn="ctr"/>
            <a:endParaRPr lang="en-US" sz="675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3186333" y="5391843"/>
            <a:ext cx="5951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latin typeface="Proxima Nova"/>
                <a:cs typeface="Proxima Nova"/>
              </a:rPr>
              <a:t>Data, Information, Analytic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AF84D94-72DA-4747-83A6-CEA2176ACE1A}"/>
              </a:ext>
            </a:extLst>
          </p:cNvPr>
          <p:cNvSpPr txBox="1"/>
          <p:nvPr/>
        </p:nvSpPr>
        <p:spPr>
          <a:xfrm>
            <a:off x="3186333" y="5675748"/>
            <a:ext cx="5951745" cy="3347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 dirty="0">
                <a:latin typeface="Proxima Nova"/>
                <a:cs typeface="Proxima Nova"/>
              </a:rPr>
              <a:t>Talent: People, Business Acumen, Measures</a:t>
            </a:r>
          </a:p>
          <a:p>
            <a:pPr algn="ctr"/>
            <a:endParaRPr lang="en-US" sz="675" b="1" dirty="0">
              <a:latin typeface="Proxima Nova"/>
              <a:cs typeface="Proxima Nova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E36792-0FA0-5240-A544-B33DE9817A50}"/>
              </a:ext>
            </a:extLst>
          </p:cNvPr>
          <p:cNvSpPr/>
          <p:nvPr/>
        </p:nvSpPr>
        <p:spPr>
          <a:xfrm>
            <a:off x="6560422" y="2094855"/>
            <a:ext cx="2569189" cy="2260700"/>
          </a:xfrm>
          <a:prstGeom prst="rect">
            <a:avLst/>
          </a:prstGeom>
          <a:noFill/>
          <a:ln w="57150">
            <a:solidFill>
              <a:schemeClr val="tx2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2C3EC10-89FD-7449-B102-F4EC64B7FBB4}"/>
              </a:ext>
            </a:extLst>
          </p:cNvPr>
          <p:cNvSpPr/>
          <p:nvPr/>
        </p:nvSpPr>
        <p:spPr>
          <a:xfrm>
            <a:off x="3245861" y="2094855"/>
            <a:ext cx="3314561" cy="2260700"/>
          </a:xfrm>
          <a:prstGeom prst="rect">
            <a:avLst/>
          </a:prstGeom>
          <a:noFill/>
          <a:ln w="57150">
            <a:solidFill>
              <a:schemeClr val="accent5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1F6FB5-7BE3-01C7-1C93-05698445962C}"/>
              </a:ext>
            </a:extLst>
          </p:cNvPr>
          <p:cNvSpPr/>
          <p:nvPr/>
        </p:nvSpPr>
        <p:spPr>
          <a:xfrm>
            <a:off x="5218993" y="1983844"/>
            <a:ext cx="1974273" cy="2351866"/>
          </a:xfrm>
          <a:prstGeom prst="rect">
            <a:avLst/>
          </a:prstGeom>
          <a:noFill/>
          <a:ln w="57150">
            <a:solidFill>
              <a:srgbClr val="F1250F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8" grpId="0" animBg="1"/>
      <p:bldP spid="79" grpId="0" animBg="1"/>
      <p:bldP spid="8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Picture 115" descr="1206951209103034_Breakthrough_Supply_Chains_Branded_Slides_and_Graphic-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88" y="893"/>
            <a:ext cx="12188825" cy="6856214"/>
          </a:xfrm>
          <a:prstGeom prst="rect">
            <a:avLst/>
          </a:prstGeom>
        </p:spPr>
      </p:pic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99C1829-F974-620F-EBED-297498056679}"/>
              </a:ext>
            </a:extLst>
          </p:cNvPr>
          <p:cNvCxnSpPr>
            <a:cxnSpLocks/>
          </p:cNvCxnSpPr>
          <p:nvPr/>
        </p:nvCxnSpPr>
        <p:spPr bwMode="auto">
          <a:xfrm rot="16200000" flipH="1">
            <a:off x="407628" y="4130567"/>
            <a:ext cx="3423433" cy="11666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5820E6-61DB-24FE-1871-FDC3D12F6866}"/>
              </a:ext>
            </a:extLst>
          </p:cNvPr>
          <p:cNvCxnSpPr>
            <a:cxnSpLocks/>
          </p:cNvCxnSpPr>
          <p:nvPr/>
        </p:nvCxnSpPr>
        <p:spPr bwMode="auto">
          <a:xfrm>
            <a:off x="2109481" y="5862073"/>
            <a:ext cx="7548143" cy="1660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9" name="TextBox 11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7674BCE-D5BC-BACD-7D84-D7712AE3BF14}"/>
              </a:ext>
            </a:extLst>
          </p:cNvPr>
          <p:cNvSpPr txBox="1"/>
          <p:nvPr/>
        </p:nvSpPr>
        <p:spPr>
          <a:xfrm rot="20130893">
            <a:off x="5819666" y="3524667"/>
            <a:ext cx="196367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Inventory Levels &amp; Accuracy</a:t>
            </a:r>
          </a:p>
        </p:txBody>
      </p:sp>
      <p:grpSp>
        <p:nvGrpSpPr>
          <p:cNvPr id="120" name="Group 11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588570-0152-5F58-6782-1B7C6FC8038D}"/>
              </a:ext>
            </a:extLst>
          </p:cNvPr>
          <p:cNvGrpSpPr/>
          <p:nvPr/>
        </p:nvGrpSpPr>
        <p:grpSpPr>
          <a:xfrm>
            <a:off x="2055698" y="1594516"/>
            <a:ext cx="7689478" cy="3574979"/>
            <a:chOff x="1073522" y="2042424"/>
            <a:chExt cx="7689478" cy="3574979"/>
          </a:xfrm>
        </p:grpSpPr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AB55AEB-1D7C-354D-6842-9C213982E6C7}"/>
                </a:ext>
              </a:extLst>
            </p:cNvPr>
            <p:cNvSpPr txBox="1"/>
            <p:nvPr/>
          </p:nvSpPr>
          <p:spPr>
            <a:xfrm>
              <a:off x="6660339" y="2545452"/>
              <a:ext cx="810621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Order Fulfillment time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FB155E3-B903-6A15-C75B-E62AE619A0B4}"/>
                </a:ext>
              </a:extLst>
            </p:cNvPr>
            <p:cNvSpPr txBox="1"/>
            <p:nvPr/>
          </p:nvSpPr>
          <p:spPr>
            <a:xfrm>
              <a:off x="8039100" y="2042424"/>
              <a:ext cx="723900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Sales Forecast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9B2F0F5-ED4B-5FB9-ECFC-5779436D7D88}"/>
                </a:ext>
              </a:extLst>
            </p:cNvPr>
            <p:cNvSpPr txBox="1"/>
            <p:nvPr/>
          </p:nvSpPr>
          <p:spPr>
            <a:xfrm>
              <a:off x="7381524" y="2241036"/>
              <a:ext cx="723895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Customer Delivery time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33DBC11-7A8A-497A-2A0E-A43FBF12F963}"/>
                </a:ext>
              </a:extLst>
            </p:cNvPr>
            <p:cNvSpPr txBox="1"/>
            <p:nvPr/>
          </p:nvSpPr>
          <p:spPr>
            <a:xfrm>
              <a:off x="5818635" y="2872590"/>
              <a:ext cx="913384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F/G Inventory Levels &amp; availability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60352D-B1E3-1E3C-3FF8-FAF2F31C821A}"/>
                </a:ext>
              </a:extLst>
            </p:cNvPr>
            <p:cNvSpPr txBox="1"/>
            <p:nvPr/>
          </p:nvSpPr>
          <p:spPr>
            <a:xfrm>
              <a:off x="4957396" y="3156985"/>
              <a:ext cx="981803" cy="707886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Manufacturing Lead Time</a:t>
              </a:r>
            </a:p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Manufacturing Quality Yield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5679F14-E496-AC19-1A18-C9915E0CA986}"/>
                </a:ext>
              </a:extLst>
            </p:cNvPr>
            <p:cNvSpPr txBox="1"/>
            <p:nvPr/>
          </p:nvSpPr>
          <p:spPr>
            <a:xfrm>
              <a:off x="3640907" y="3871636"/>
              <a:ext cx="667629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Supplier Quality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47B2CD-02D6-7B80-D681-635630D809F2}"/>
                </a:ext>
              </a:extLst>
            </p:cNvPr>
            <p:cNvSpPr txBox="1"/>
            <p:nvPr/>
          </p:nvSpPr>
          <p:spPr>
            <a:xfrm>
              <a:off x="3110396" y="4097715"/>
              <a:ext cx="620269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Supplier Delivery Time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D10DB92-E016-702F-64B8-7D5E92975FE0}"/>
                </a:ext>
              </a:extLst>
            </p:cNvPr>
            <p:cNvSpPr txBox="1"/>
            <p:nvPr/>
          </p:nvSpPr>
          <p:spPr>
            <a:xfrm>
              <a:off x="2286266" y="4433571"/>
              <a:ext cx="981808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Supplier</a:t>
              </a:r>
            </a:p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Manufacturing Time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D83166F-B7CA-0C89-B675-012412FFDEBD}"/>
                </a:ext>
              </a:extLst>
            </p:cNvPr>
            <p:cNvSpPr txBox="1"/>
            <p:nvPr/>
          </p:nvSpPr>
          <p:spPr>
            <a:xfrm>
              <a:off x="1767051" y="4713918"/>
              <a:ext cx="721183" cy="400110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R/M delivery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5DCB210-63BE-7A40-B515-5E3C52751A76}"/>
                </a:ext>
              </a:extLst>
            </p:cNvPr>
            <p:cNvSpPr txBox="1"/>
            <p:nvPr/>
          </p:nvSpPr>
          <p:spPr>
            <a:xfrm>
              <a:off x="1073522" y="4909517"/>
              <a:ext cx="865808" cy="707886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R/M</a:t>
              </a:r>
            </a:p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availability and Lead time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AEF75E-FA3A-5EE6-78DC-FA441CB02E0D}"/>
                </a:ext>
              </a:extLst>
            </p:cNvPr>
            <p:cNvSpPr txBox="1"/>
            <p:nvPr/>
          </p:nvSpPr>
          <p:spPr>
            <a:xfrm>
              <a:off x="4160007" y="3547498"/>
              <a:ext cx="873589" cy="553998"/>
            </a:xfrm>
            <a:prstGeom prst="rect">
              <a:avLst/>
            </a:prstGeom>
            <a:noFill/>
            <a:ln w="19050"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00" dirty="0">
                  <a:latin typeface="Calibri" panose="020F0502020204030204" pitchFamily="34" charset="0"/>
                  <a:cs typeface="Calibri" panose="020F0502020204030204" pitchFamily="34" charset="0"/>
                </a:rPr>
                <a:t>Procurement Ordering time</a:t>
              </a:r>
            </a:p>
          </p:txBody>
        </p:sp>
      </p:grpSp>
      <p:sp>
        <p:nvSpPr>
          <p:cNvPr id="132" name="TextBox 13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4A1E0B1-46FF-1A1C-6ADD-C38AD004B8B9}"/>
              </a:ext>
            </a:extLst>
          </p:cNvPr>
          <p:cNvSpPr txBox="1"/>
          <p:nvPr/>
        </p:nvSpPr>
        <p:spPr>
          <a:xfrm>
            <a:off x="9688650" y="5404225"/>
            <a:ext cx="814665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b="1" dirty="0">
                <a:latin typeface="Calibri"/>
                <a:ea typeface="Calibri"/>
                <a:cs typeface="Proxima Nova"/>
              </a:rPr>
              <a:t>Time </a:t>
            </a:r>
          </a:p>
          <a:p>
            <a:r>
              <a:rPr lang="en-US" sz="1400" b="1" dirty="0">
                <a:latin typeface="Calibri"/>
                <a:ea typeface="Calibri"/>
                <a:cs typeface="Proxima Nova"/>
              </a:rPr>
              <a:t>Horizon</a:t>
            </a: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767E45B-83ED-9560-C66A-13A5483FF4C0}"/>
              </a:ext>
            </a:extLst>
          </p:cNvPr>
          <p:cNvSpPr txBox="1"/>
          <p:nvPr/>
        </p:nvSpPr>
        <p:spPr>
          <a:xfrm>
            <a:off x="1934676" y="1553597"/>
            <a:ext cx="806503" cy="892552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300" b="1" dirty="0">
                <a:latin typeface="Calibri"/>
                <a:ea typeface="Calibri"/>
                <a:cs typeface="Proxima Nova"/>
              </a:rPr>
              <a:t>Cost</a:t>
            </a:r>
          </a:p>
          <a:p>
            <a:r>
              <a:rPr lang="en-US" sz="1300" b="1" dirty="0">
                <a:latin typeface="Calibri"/>
                <a:ea typeface="Calibri"/>
                <a:cs typeface="Proxima Nova"/>
              </a:rPr>
              <a:t>Volumes</a:t>
            </a:r>
          </a:p>
          <a:p>
            <a:r>
              <a:rPr lang="en-US" sz="1300" b="1" dirty="0">
                <a:latin typeface="Calibri"/>
                <a:ea typeface="Calibri"/>
                <a:cs typeface="Proxima Nova"/>
              </a:rPr>
              <a:t>Working </a:t>
            </a:r>
            <a:r>
              <a:rPr lang="en-US" sz="1300" b="1" dirty="0">
                <a:latin typeface="Calibri"/>
                <a:cs typeface="Proxima Nova"/>
              </a:rPr>
              <a:t/>
            </a:r>
            <a:br>
              <a:rPr lang="en-US" sz="1300" b="1" dirty="0">
                <a:latin typeface="Calibri"/>
                <a:cs typeface="Proxima Nova"/>
              </a:rPr>
            </a:br>
            <a:r>
              <a:rPr lang="en-US" sz="1300" b="1" dirty="0">
                <a:latin typeface="Calibri"/>
                <a:ea typeface="Calibri"/>
                <a:cs typeface="Proxima Nova"/>
              </a:rPr>
              <a:t>Capital</a:t>
            </a:r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74DAD53-DA7A-8920-C0B0-96653A233803}"/>
              </a:ext>
            </a:extLst>
          </p:cNvPr>
          <p:cNvCxnSpPr/>
          <p:nvPr/>
        </p:nvCxnSpPr>
        <p:spPr bwMode="auto">
          <a:xfrm flipV="1">
            <a:off x="2506176" y="2097544"/>
            <a:ext cx="7162800" cy="3065829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1250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5" name="TextBox 13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05B2054-C7BD-D39B-BF0B-61B4BDC77027}"/>
              </a:ext>
            </a:extLst>
          </p:cNvPr>
          <p:cNvSpPr txBox="1"/>
          <p:nvPr/>
        </p:nvSpPr>
        <p:spPr>
          <a:xfrm>
            <a:off x="9607485" y="1895210"/>
            <a:ext cx="2700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896DB9C-7489-1D31-F31F-F7AE29C5EF9C}"/>
              </a:ext>
            </a:extLst>
          </p:cNvPr>
          <p:cNvSpPr txBox="1"/>
          <p:nvPr/>
        </p:nvSpPr>
        <p:spPr>
          <a:xfrm>
            <a:off x="2297573" y="5020895"/>
            <a:ext cx="26481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latin typeface="Calibri" panose="020F0502020204030204" pitchFamily="34" charset="0"/>
                <a:cs typeface="Calibri" panose="020F0502020204030204" pitchFamily="34" charset="0"/>
              </a:rPr>
              <a:t>X</a:t>
            </a:r>
          </a:p>
        </p:txBody>
      </p: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92C6431-E3A8-5537-6E5D-F615C2401542}"/>
              </a:ext>
            </a:extLst>
          </p:cNvPr>
          <p:cNvCxnSpPr>
            <a:cxnSpLocks/>
          </p:cNvCxnSpPr>
          <p:nvPr/>
        </p:nvCxnSpPr>
        <p:spPr bwMode="auto">
          <a:xfrm flipV="1">
            <a:off x="3106603" y="2302335"/>
            <a:ext cx="6635929" cy="285705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</p:spPr>
      </p:cxnSp>
      <p:cxnSp>
        <p:nvCxnSpPr>
          <p:cNvPr id="138" name="Curved Connector 13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E29A303-0DE3-25B8-0A87-474DDBA5035E}"/>
              </a:ext>
            </a:extLst>
          </p:cNvPr>
          <p:cNvCxnSpPr/>
          <p:nvPr/>
        </p:nvCxnSpPr>
        <p:spPr bwMode="auto">
          <a:xfrm flipV="1">
            <a:off x="2297574" y="3514492"/>
            <a:ext cx="3256603" cy="1506403"/>
          </a:xfrm>
          <a:prstGeom prst="curved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Curved Connector 13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A8AB0BF-3761-C60B-C4FD-A3DBF5E210F3}"/>
              </a:ext>
            </a:extLst>
          </p:cNvPr>
          <p:cNvCxnSpPr>
            <a:cxnSpLocks/>
          </p:cNvCxnSpPr>
          <p:nvPr/>
        </p:nvCxnSpPr>
        <p:spPr bwMode="auto">
          <a:xfrm flipV="1">
            <a:off x="5554176" y="1793127"/>
            <a:ext cx="2898960" cy="1721364"/>
          </a:xfrm>
          <a:prstGeom prst="curved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691E787-5EEB-731C-8291-C10D98778B6D}"/>
              </a:ext>
            </a:extLst>
          </p:cNvPr>
          <p:cNvCxnSpPr/>
          <p:nvPr/>
        </p:nvCxnSpPr>
        <p:spPr bwMode="auto">
          <a:xfrm flipV="1">
            <a:off x="2133247" y="4602890"/>
            <a:ext cx="970869" cy="48123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40BE6DB-D929-B4A7-DBB2-6398F38AF138}"/>
              </a:ext>
            </a:extLst>
          </p:cNvPr>
          <p:cNvCxnSpPr/>
          <p:nvPr/>
        </p:nvCxnSpPr>
        <p:spPr bwMode="auto">
          <a:xfrm flipV="1">
            <a:off x="3123558" y="3246804"/>
            <a:ext cx="2133334" cy="121926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2BA028C-79E7-33C4-D78F-13C39B0C3EF2}"/>
              </a:ext>
            </a:extLst>
          </p:cNvPr>
          <p:cNvCxnSpPr>
            <a:cxnSpLocks/>
          </p:cNvCxnSpPr>
          <p:nvPr/>
        </p:nvCxnSpPr>
        <p:spPr bwMode="auto">
          <a:xfrm flipV="1">
            <a:off x="5517075" y="1594516"/>
            <a:ext cx="2457833" cy="136632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F55A50F-CFA3-8FC9-6D74-8904055B404E}"/>
              </a:ext>
            </a:extLst>
          </p:cNvPr>
          <p:cNvCxnSpPr/>
          <p:nvPr/>
        </p:nvCxnSpPr>
        <p:spPr bwMode="auto">
          <a:xfrm flipV="1">
            <a:off x="3104115" y="4468142"/>
            <a:ext cx="0" cy="13474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EB7DD28-3758-98EF-EB13-6F0F786929FF}"/>
              </a:ext>
            </a:extLst>
          </p:cNvPr>
          <p:cNvCxnSpPr/>
          <p:nvPr/>
        </p:nvCxnSpPr>
        <p:spPr bwMode="auto">
          <a:xfrm flipV="1">
            <a:off x="5421220" y="2960845"/>
            <a:ext cx="95855" cy="285959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74E00FA-F03F-0F05-AB42-D64C14616BE0}"/>
              </a:ext>
            </a:extLst>
          </p:cNvPr>
          <p:cNvCxnSpPr>
            <a:cxnSpLocks/>
          </p:cNvCxnSpPr>
          <p:nvPr/>
        </p:nvCxnSpPr>
        <p:spPr bwMode="auto">
          <a:xfrm flipV="1">
            <a:off x="2429981" y="4333930"/>
            <a:ext cx="2775212" cy="686964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D73529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FBEAC5B2-4F1D-4C7E-B373-96F1B6DB60C0}"/>
              </a:ext>
            </a:extLst>
          </p:cNvPr>
          <p:cNvCxnSpPr>
            <a:cxnSpLocks/>
          </p:cNvCxnSpPr>
          <p:nvPr/>
        </p:nvCxnSpPr>
        <p:spPr bwMode="auto">
          <a:xfrm flipV="1">
            <a:off x="5708520" y="3081598"/>
            <a:ext cx="3345042" cy="1366577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D73529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E553B6F-7269-6D00-FADC-3A0321384E48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194301" y="4330967"/>
            <a:ext cx="492834" cy="9637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D73529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1BD619-066B-7D77-70EA-6D67DC731CAB}"/>
              </a:ext>
            </a:extLst>
          </p:cNvPr>
          <p:cNvSpPr txBox="1"/>
          <p:nvPr/>
        </p:nvSpPr>
        <p:spPr>
          <a:xfrm>
            <a:off x="7380910" y="4549385"/>
            <a:ext cx="2270876" cy="109260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Proxima Nova"/>
                <a:cs typeface="Proxima Nova"/>
              </a:rPr>
              <a:t>Scenarios for Variability:</a:t>
            </a:r>
          </a:p>
          <a:p>
            <a:r>
              <a:rPr lang="en-US" sz="1300" dirty="0">
                <a:latin typeface="Proxima Nova"/>
                <a:cs typeface="Proxima Nova"/>
              </a:rPr>
              <a:t>- Baseline</a:t>
            </a:r>
          </a:p>
          <a:p>
            <a:r>
              <a:rPr lang="en-US" sz="1300" dirty="0">
                <a:latin typeface="Proxima Nova"/>
                <a:cs typeface="Proxima Nova"/>
              </a:rPr>
              <a:t>- Low likelihood</a:t>
            </a:r>
          </a:p>
          <a:p>
            <a:r>
              <a:rPr lang="en-US" sz="1300" dirty="0">
                <a:latin typeface="Proxima Nova"/>
                <a:cs typeface="Proxima Nova"/>
              </a:rPr>
              <a:t>- High Likelihood</a:t>
            </a:r>
          </a:p>
          <a:p>
            <a:r>
              <a:rPr lang="en-US" sz="1300" dirty="0">
                <a:latin typeface="Proxima Nova"/>
                <a:cs typeface="Proxima Nova"/>
              </a:rPr>
              <a:t>- “Black Swan” Events 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E176FF4-3F80-A2AA-13F1-A31F99F9BBB6}"/>
              </a:ext>
            </a:extLst>
          </p:cNvPr>
          <p:cNvSpPr txBox="1"/>
          <p:nvPr/>
        </p:nvSpPr>
        <p:spPr>
          <a:xfrm>
            <a:off x="3049992" y="1698615"/>
            <a:ext cx="2156835" cy="1492716"/>
          </a:xfrm>
          <a:prstGeom prst="rect">
            <a:avLst/>
          </a:prstGeom>
          <a:solidFill>
            <a:srgbClr val="F2DCDB"/>
          </a:solidFill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Proxima Nova"/>
                <a:cs typeface="Proxima Nova"/>
              </a:rPr>
              <a:t>Parameters for Variability:</a:t>
            </a:r>
          </a:p>
          <a:p>
            <a:r>
              <a:rPr lang="en-US" sz="1300" dirty="0">
                <a:latin typeface="Proxima Nova"/>
                <a:cs typeface="Proxima Nova"/>
              </a:rPr>
              <a:t>- Time</a:t>
            </a:r>
          </a:p>
          <a:p>
            <a:r>
              <a:rPr lang="en-US" sz="1300" dirty="0">
                <a:latin typeface="Proxima Nova"/>
                <a:cs typeface="Proxima Nova"/>
              </a:rPr>
              <a:t>- Quality</a:t>
            </a:r>
          </a:p>
          <a:p>
            <a:r>
              <a:rPr lang="en-US" sz="1300" dirty="0">
                <a:latin typeface="Proxima Nova"/>
                <a:cs typeface="Proxima Nova"/>
              </a:rPr>
              <a:t>- Availability</a:t>
            </a:r>
          </a:p>
          <a:p>
            <a:r>
              <a:rPr lang="en-US" sz="1300" dirty="0">
                <a:latin typeface="Proxima Nova"/>
                <a:cs typeface="Proxima Nova"/>
              </a:rPr>
              <a:t>- Quantity</a:t>
            </a:r>
          </a:p>
          <a:p>
            <a:r>
              <a:rPr lang="en-US" sz="1300" dirty="0">
                <a:latin typeface="Proxima Nova"/>
                <a:cs typeface="Proxima Nova"/>
              </a:rPr>
              <a:t>- Cos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C13E875-1572-9ADF-964B-05E7C8E1B2D2}"/>
              </a:ext>
            </a:extLst>
          </p:cNvPr>
          <p:cNvSpPr txBox="1"/>
          <p:nvPr/>
        </p:nvSpPr>
        <p:spPr>
          <a:xfrm>
            <a:off x="4680254" y="4557723"/>
            <a:ext cx="2442221" cy="1292662"/>
          </a:xfrm>
          <a:prstGeom prst="rect">
            <a:avLst/>
          </a:prstGeom>
          <a:solidFill>
            <a:srgbClr val="F2DCDB"/>
          </a:solidFill>
        </p:spPr>
        <p:txBody>
          <a:bodyPr wrap="square" rtlCol="0">
            <a:spAutoFit/>
          </a:bodyPr>
          <a:lstStyle/>
          <a:p>
            <a:r>
              <a:rPr lang="en-US" sz="1300" b="1" dirty="0">
                <a:latin typeface="Proxima Nova"/>
                <a:cs typeface="Proxima Nova"/>
              </a:rPr>
              <a:t>Risk Parameters for Variability:</a:t>
            </a:r>
          </a:p>
          <a:p>
            <a:r>
              <a:rPr lang="en-US" sz="1300" dirty="0">
                <a:latin typeface="Proxima Nova"/>
                <a:cs typeface="Proxima Nova"/>
              </a:rPr>
              <a:t>- Labor </a:t>
            </a:r>
            <a:r>
              <a:rPr lang="en-US" sz="1300" dirty="0" err="1">
                <a:latin typeface="Proxima Nova"/>
                <a:cs typeface="Proxima Nova"/>
              </a:rPr>
              <a:t>Isssues</a:t>
            </a:r>
            <a:endParaRPr lang="en-US" sz="1300" dirty="0">
              <a:latin typeface="Proxima Nova"/>
              <a:cs typeface="Proxima Nova"/>
            </a:endParaRPr>
          </a:p>
          <a:p>
            <a:r>
              <a:rPr lang="en-US" sz="1300" dirty="0">
                <a:latin typeface="Proxima Nova"/>
                <a:cs typeface="Proxima Nova"/>
              </a:rPr>
              <a:t>-Climate Change Events</a:t>
            </a:r>
          </a:p>
          <a:p>
            <a:r>
              <a:rPr lang="en-US" sz="1300" dirty="0">
                <a:latin typeface="Proxima Nova"/>
                <a:cs typeface="Proxima Nova"/>
              </a:rPr>
              <a:t>-Geopolitical Tensions</a:t>
            </a:r>
          </a:p>
          <a:p>
            <a:r>
              <a:rPr lang="en-US" sz="1300" dirty="0">
                <a:latin typeface="Proxima Nova"/>
                <a:cs typeface="Proxima Nova"/>
              </a:rPr>
              <a:t>-Wars, Tariffs, etc.</a:t>
            </a:r>
          </a:p>
        </p:txBody>
      </p:sp>
      <p:sp>
        <p:nvSpPr>
          <p:cNvPr id="151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F52C91E-ED4B-3CF0-83F8-E2BDE482D123}"/>
              </a:ext>
            </a:extLst>
          </p:cNvPr>
          <p:cNvSpPr txBox="1">
            <a:spLocks/>
          </p:cNvSpPr>
          <p:nvPr/>
        </p:nvSpPr>
        <p:spPr>
          <a:xfrm>
            <a:off x="935076" y="409349"/>
            <a:ext cx="10658256" cy="56896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500" b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How it really works – Probabilistic Supply Chain Design and Management</a:t>
            </a:r>
            <a:endParaRPr lang="en-US"/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5E6CD61-A74B-32B7-8C58-B7751890658E}"/>
              </a:ext>
            </a:extLst>
          </p:cNvPr>
          <p:cNvSpPr txBox="1"/>
          <p:nvPr/>
        </p:nvSpPr>
        <p:spPr>
          <a:xfrm>
            <a:off x="1128943" y="803115"/>
            <a:ext cx="10300065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dirty="0">
                <a:solidFill>
                  <a:srgbClr val="000000"/>
                </a:solidFill>
                <a:latin typeface="Calibri"/>
                <a:ea typeface="Calibri"/>
                <a:cs typeface="Proxima Nova"/>
              </a:rPr>
              <a:t>A probabilistic system is one in which the occurrence of events cannot be perfectly predicted. The system behavior can be described in terms of probabilities, and a certain degree of error is always present</a:t>
            </a:r>
            <a:endParaRPr lang="en-US">
              <a:ea typeface="Calibri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9" grpId="0"/>
      <p:bldP spid="132" grpId="0"/>
      <p:bldP spid="133" grpId="0"/>
      <p:bldP spid="135" grpId="0"/>
      <p:bldP spid="136" grpId="0"/>
      <p:bldP spid="148" grpId="0" animBg="1"/>
      <p:bldP spid="149" grpId="0" animBg="1"/>
      <p:bldP spid="15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 descr="1206951209103034_Breakthrough_Supply_Chains_Branded_Slides_and_Graphic-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8" y="-870"/>
            <a:ext cx="12188825" cy="6856214"/>
          </a:xfrm>
          <a:prstGeom prst="rect">
            <a:avLst/>
          </a:prstGeom>
        </p:spPr>
      </p:pic>
      <p:sp>
        <p:nvSpPr>
          <p:cNvPr id="40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6009B2F-085C-C790-B44C-20E2C638C4C0}"/>
              </a:ext>
            </a:extLst>
          </p:cNvPr>
          <p:cNvSpPr txBox="1">
            <a:spLocks/>
          </p:cNvSpPr>
          <p:nvPr/>
        </p:nvSpPr>
        <p:spPr>
          <a:xfrm>
            <a:off x="523419" y="524935"/>
            <a:ext cx="10786260" cy="101301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Focus on the Customer and Supply</a:t>
            </a:r>
            <a:r>
              <a:rPr lang="en-US" sz="23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  <a:t/>
            </a:r>
            <a:br>
              <a:rPr lang="en-US" sz="23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</a:br>
            <a:r>
              <a:rPr kumimoji="0" lang="en-US" sz="1900" b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Build and Manage “Supply Forward, Customer Back” for Risk, </a:t>
            </a:r>
            <a:r>
              <a:rPr lang="en-US" sz="19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  <a:t/>
            </a:r>
            <a:br>
              <a:rPr lang="en-US" sz="1900" b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</a:br>
            <a:r>
              <a:rPr kumimoji="0" lang="en-US" sz="1900" b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Resilience and Sustainability</a:t>
            </a:r>
            <a:endParaRPr lang="en-US" sz="1900" b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Calibri"/>
              <a:ea typeface="Calibri"/>
              <a:cs typeface="Proxima Nova"/>
            </a:endParaRP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D18FA8B-98A0-00F7-5823-44334DB74553}"/>
              </a:ext>
            </a:extLst>
          </p:cNvPr>
          <p:cNvGrpSpPr/>
          <p:nvPr/>
        </p:nvGrpSpPr>
        <p:grpSpPr>
          <a:xfrm>
            <a:off x="1627011" y="1836564"/>
            <a:ext cx="8716073" cy="1569747"/>
            <a:chOff x="211088" y="2349190"/>
            <a:chExt cx="9508445" cy="1952661"/>
          </a:xfrm>
        </p:grpSpPr>
        <p:sp>
          <p:nvSpPr>
            <p:cNvPr id="42" name="Right Arrow 4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56B260-2E01-C3D5-0514-0CC7982D98D2}"/>
                </a:ext>
              </a:extLst>
            </p:cNvPr>
            <p:cNvSpPr/>
            <p:nvPr/>
          </p:nvSpPr>
          <p:spPr bwMode="auto">
            <a:xfrm>
              <a:off x="1188365" y="2819399"/>
              <a:ext cx="3111148" cy="990600"/>
            </a:xfrm>
            <a:prstGeom prst="rightArrow">
              <a:avLst/>
            </a:prstGeom>
            <a:solidFill>
              <a:srgbClr val="17375E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0" dirty="0">
                  <a:solidFill>
                    <a:schemeClr val="bg1"/>
                  </a:solidFill>
                  <a:latin typeface="Proxima Nova"/>
                  <a:cs typeface="Proxima Nova"/>
                </a:rPr>
                <a:t>Supply/Status Information</a:t>
              </a:r>
            </a:p>
          </p:txBody>
        </p:sp>
        <p:sp>
          <p:nvSpPr>
            <p:cNvPr id="43" name="Left Arrow 4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B07D3C8-5D4C-477A-0596-D37991FC27C3}"/>
                </a:ext>
              </a:extLst>
            </p:cNvPr>
            <p:cNvSpPr/>
            <p:nvPr/>
          </p:nvSpPr>
          <p:spPr bwMode="auto">
            <a:xfrm>
              <a:off x="5417126" y="2819399"/>
              <a:ext cx="3409951" cy="990600"/>
            </a:xfrm>
            <a:prstGeom prst="leftArrow">
              <a:avLst/>
            </a:prstGeom>
            <a:solidFill>
              <a:srgbClr val="17375E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0" dirty="0">
                  <a:solidFill>
                    <a:schemeClr val="bg1"/>
                  </a:solidFill>
                  <a:latin typeface="Proxima Nova"/>
                  <a:cs typeface="Proxima Nova"/>
                </a:rPr>
                <a:t>   Demand/Order Information</a:t>
              </a: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D0F7BF-63A0-135D-5587-16D8178B093C}"/>
                </a:ext>
              </a:extLst>
            </p:cNvPr>
            <p:cNvSpPr/>
            <p:nvPr/>
          </p:nvSpPr>
          <p:spPr bwMode="auto">
            <a:xfrm>
              <a:off x="8119334" y="2394690"/>
              <a:ext cx="1600199" cy="1843970"/>
            </a:xfrm>
            <a:prstGeom prst="ellipse">
              <a:avLst/>
            </a:prstGeom>
            <a:solidFill>
              <a:schemeClr val="tx2">
                <a:lumMod val="7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0" dirty="0">
                  <a:solidFill>
                    <a:schemeClr val="bg1"/>
                  </a:solidFill>
                  <a:latin typeface="Proxima Nova"/>
                  <a:cs typeface="Proxima Nova"/>
                </a:rPr>
                <a:t>Customer Experience Life Cycle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0D34825-7220-2322-B245-0A148EFD659D}"/>
                </a:ext>
              </a:extLst>
            </p:cNvPr>
            <p:cNvSpPr/>
            <p:nvPr/>
          </p:nvSpPr>
          <p:spPr bwMode="auto">
            <a:xfrm>
              <a:off x="211088" y="2394691"/>
              <a:ext cx="1475997" cy="1735280"/>
            </a:xfrm>
            <a:prstGeom prst="ellipse">
              <a:avLst/>
            </a:prstGeom>
            <a:solidFill>
              <a:srgbClr val="17375E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400" dirty="0">
                  <a:solidFill>
                    <a:schemeClr val="bg1"/>
                  </a:solidFill>
                  <a:latin typeface="Proxima Nova"/>
                  <a:cs typeface="Proxima Nova"/>
                </a:rPr>
                <a:t>  Supply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8656570-F797-6585-6784-69E4698BD0CD}"/>
                </a:ext>
              </a:extLst>
            </p:cNvPr>
            <p:cNvSpPr/>
            <p:nvPr/>
          </p:nvSpPr>
          <p:spPr bwMode="auto">
            <a:xfrm>
              <a:off x="4317984" y="2349190"/>
              <a:ext cx="1066800" cy="1952661"/>
            </a:xfrm>
            <a:prstGeom prst="rect">
              <a:avLst/>
            </a:prstGeom>
            <a:solidFill>
              <a:srgbClr val="FF0000"/>
            </a:solidFill>
            <a:ln w="9525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0" dirty="0">
                  <a:solidFill>
                    <a:schemeClr val="bg1"/>
                  </a:solidFill>
                  <a:latin typeface="Proxima Nova"/>
                  <a:cs typeface="Proxima Nova"/>
                </a:rPr>
                <a:t>Demand-Supply Point of Balance</a:t>
              </a:r>
            </a:p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300" dirty="0">
                  <a:solidFill>
                    <a:schemeClr val="bg1"/>
                  </a:solidFill>
                  <a:latin typeface="Proxima Nova"/>
                  <a:cs typeface="Proxima Nova"/>
                </a:rPr>
                <a:t>Supply Meets Orders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6FA5C4-E03E-F599-C3B5-215BE1EBC168}"/>
              </a:ext>
            </a:extLst>
          </p:cNvPr>
          <p:cNvSpPr txBox="1"/>
          <p:nvPr/>
        </p:nvSpPr>
        <p:spPr>
          <a:xfrm>
            <a:off x="2734740" y="3564471"/>
            <a:ext cx="2971800" cy="10926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00" dirty="0">
                <a:latin typeface="Proxima Nova"/>
                <a:cs typeface="Proxima Nova"/>
              </a:rPr>
              <a:t>Speed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Velocity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Resilience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Risk Management/Balance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Assuranc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E9D408-382D-7542-C86B-97E1DFEBB280}"/>
              </a:ext>
            </a:extLst>
          </p:cNvPr>
          <p:cNvSpPr txBox="1"/>
          <p:nvPr/>
        </p:nvSpPr>
        <p:spPr>
          <a:xfrm>
            <a:off x="5630339" y="3564471"/>
            <a:ext cx="3505200" cy="10926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300" dirty="0">
                <a:latin typeface="Proxima Nova"/>
                <a:cs typeface="Proxima Nova"/>
              </a:rPr>
              <a:t>Cost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Working Capital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Fixed Assets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Sustainability</a:t>
            </a:r>
          </a:p>
          <a:p>
            <a:pPr algn="ctr"/>
            <a:r>
              <a:rPr lang="en-US" sz="1300" dirty="0">
                <a:latin typeface="Proxima Nova"/>
                <a:cs typeface="Proxima Nova"/>
              </a:rPr>
              <a:t>National Security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ACD5D84-59B6-CB1E-BFD0-AB791E20600C}"/>
              </a:ext>
            </a:extLst>
          </p:cNvPr>
          <p:cNvSpPr/>
          <p:nvPr/>
        </p:nvSpPr>
        <p:spPr bwMode="auto">
          <a:xfrm>
            <a:off x="2734740" y="4666290"/>
            <a:ext cx="6400799" cy="1260378"/>
          </a:xfrm>
          <a:prstGeom prst="rect">
            <a:avLst/>
          </a:prstGeom>
          <a:solidFill>
            <a:srgbClr val="17375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chemeClr val="bg1"/>
                </a:solidFill>
                <a:latin typeface="Proxima Nova"/>
                <a:cs typeface="Proxima Nova"/>
              </a:rPr>
              <a:t>Short product life cycle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dirty="0" err="1">
                <a:solidFill>
                  <a:schemeClr val="bg1"/>
                </a:solidFill>
                <a:latin typeface="Proxima Nova"/>
                <a:cs typeface="Proxima Nova"/>
              </a:rPr>
              <a:t>Clockspeed</a:t>
            </a:r>
            <a:endParaRPr lang="en-US" sz="1300" dirty="0">
              <a:solidFill>
                <a:schemeClr val="bg1"/>
              </a:solidFill>
              <a:latin typeface="Proxima Nova"/>
              <a:cs typeface="Proxima Nova"/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chemeClr val="bg1"/>
                </a:solidFill>
                <a:latin typeface="Proxima Nova"/>
                <a:cs typeface="Proxima Nova"/>
              </a:rPr>
              <a:t>Multiple Supply, Operational and Demand Risks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chemeClr val="bg1"/>
                </a:solidFill>
                <a:latin typeface="Proxima Nova"/>
                <a:cs typeface="Proxima Nova"/>
              </a:rPr>
              <a:t>Variable costs and Financing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chemeClr val="bg1"/>
                </a:solidFill>
                <a:latin typeface="Proxima Nova"/>
                <a:cs typeface="Proxima Nova"/>
              </a:rPr>
              <a:t>Complexity and Variability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300" dirty="0">
                <a:solidFill>
                  <a:schemeClr val="bg1"/>
                </a:solidFill>
                <a:latin typeface="Proxima Nova"/>
                <a:cs typeface="Proxima Nova"/>
              </a:rPr>
              <a:t>Lengthy Supply Chains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76" descr="1206951209103034_Breakthrough_Supply_Chains_Branded_Slides_and_Graphic-3.jpg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A7467B4-FEDD-C821-C0E2-F1E2008371D0}"/>
              </a:ext>
            </a:extLst>
          </p:cNvPr>
          <p:cNvSpPr txBox="1"/>
          <p:nvPr/>
        </p:nvSpPr>
        <p:spPr>
          <a:xfrm>
            <a:off x="4590109" y="5319943"/>
            <a:ext cx="2760969" cy="3250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87552">
              <a:defRPr/>
            </a:pPr>
            <a:r>
              <a:rPr lang="en-US" sz="1512" b="1" kern="0" dirty="0">
                <a:solidFill>
                  <a:srgbClr val="FF0000"/>
                </a:solidFill>
                <a:latin typeface="Proxima Nova"/>
                <a:cs typeface="Proxima Nova"/>
              </a:rPr>
              <a:t>Resilience Lifecycle</a:t>
            </a:r>
          </a:p>
        </p:txBody>
      </p:sp>
      <p:sp>
        <p:nvSpPr>
          <p:cNvPr id="79" name="Rounded Rectangle 3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04DDCD-EE0C-615F-76D5-496DA63DB370}"/>
              </a:ext>
            </a:extLst>
          </p:cNvPr>
          <p:cNvSpPr/>
          <p:nvPr/>
        </p:nvSpPr>
        <p:spPr>
          <a:xfrm rot="8991786">
            <a:off x="3597200" y="2673162"/>
            <a:ext cx="2855408" cy="768401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 w="1270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740664">
              <a:defRPr/>
            </a:pPr>
            <a:endParaRPr lang="en-US" sz="648" kern="0" dirty="0">
              <a:latin typeface="Calibri" panose="020F0502020204030204"/>
            </a:endParaRPr>
          </a:p>
        </p:txBody>
      </p:sp>
      <p:sp>
        <p:nvSpPr>
          <p:cNvPr id="83" name="Rounded Rectangle 3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9EFC591-7B9A-BBB0-A072-92CF8E1C4323}"/>
              </a:ext>
            </a:extLst>
          </p:cNvPr>
          <p:cNvSpPr/>
          <p:nvPr/>
        </p:nvSpPr>
        <p:spPr>
          <a:xfrm rot="1808214" flipH="1">
            <a:off x="3585809" y="3941843"/>
            <a:ext cx="2855409" cy="768401"/>
          </a:xfrm>
          <a:prstGeom prst="roundRect">
            <a:avLst>
              <a:gd name="adj" fmla="val 50000"/>
            </a:avLst>
          </a:prstGeom>
          <a:solidFill>
            <a:srgbClr val="17375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740664">
              <a:defRPr/>
            </a:pPr>
            <a:endParaRPr lang="en-US" sz="648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6" name="Rounded Rectangle 35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F5711F8-6631-EA94-7FE6-ADF8B7E0C14D}"/>
              </a:ext>
            </a:extLst>
          </p:cNvPr>
          <p:cNvSpPr/>
          <p:nvPr/>
        </p:nvSpPr>
        <p:spPr>
          <a:xfrm rot="19791786">
            <a:off x="5492717" y="3941844"/>
            <a:ext cx="2855408" cy="768401"/>
          </a:xfrm>
          <a:prstGeom prst="roundRect">
            <a:avLst>
              <a:gd name="adj" fmla="val 50000"/>
            </a:avLst>
          </a:prstGeom>
          <a:solidFill>
            <a:srgbClr val="B9CDE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740664">
              <a:defRPr/>
            </a:pPr>
            <a:endParaRPr lang="en-US" sz="648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7" name="Freeform: Shape 4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80B447B-FB43-9983-25A8-68D37818AAD4}"/>
              </a:ext>
            </a:extLst>
          </p:cNvPr>
          <p:cNvSpPr/>
          <p:nvPr/>
        </p:nvSpPr>
        <p:spPr>
          <a:xfrm rot="1788605">
            <a:off x="5560455" y="2678128"/>
            <a:ext cx="2781182" cy="793394"/>
          </a:xfrm>
          <a:custGeom>
            <a:avLst/>
            <a:gdLst>
              <a:gd name="connsiteX0" fmla="*/ 3350733 w 3511357"/>
              <a:gd name="connsiteY0" fmla="*/ 936181 h 1096804"/>
              <a:gd name="connsiteX1" fmla="*/ 2962954 w 3511357"/>
              <a:gd name="connsiteY1" fmla="*/ 1096804 h 1096804"/>
              <a:gd name="connsiteX2" fmla="*/ 928495 w 3511357"/>
              <a:gd name="connsiteY2" fmla="*/ 1096803 h 1096804"/>
              <a:gd name="connsiteX3" fmla="*/ 928495 w 3511357"/>
              <a:gd name="connsiteY3" fmla="*/ 562438 h 1096804"/>
              <a:gd name="connsiteX4" fmla="*/ 380093 w 3511357"/>
              <a:gd name="connsiteY4" fmla="*/ 14036 h 1096804"/>
              <a:gd name="connsiteX5" fmla="*/ 380094 w 3511357"/>
              <a:gd name="connsiteY5" fmla="*/ 14035 h 1096804"/>
              <a:gd name="connsiteX6" fmla="*/ 73477 w 3511357"/>
              <a:gd name="connsiteY6" fmla="*/ 107694 h 1096804"/>
              <a:gd name="connsiteX7" fmla="*/ 0 w 3511357"/>
              <a:gd name="connsiteY7" fmla="*/ 168317 h 1096804"/>
              <a:gd name="connsiteX8" fmla="*/ 6348 w 3511357"/>
              <a:gd name="connsiteY8" fmla="*/ 160623 h 1096804"/>
              <a:gd name="connsiteX9" fmla="*/ 394127 w 3511357"/>
              <a:gd name="connsiteY9" fmla="*/ 0 h 1096804"/>
              <a:gd name="connsiteX10" fmla="*/ 2962955 w 3511357"/>
              <a:gd name="connsiteY10" fmla="*/ 0 h 1096804"/>
              <a:gd name="connsiteX11" fmla="*/ 3511357 w 3511357"/>
              <a:gd name="connsiteY11" fmla="*/ 548402 h 1096804"/>
              <a:gd name="connsiteX12" fmla="*/ 3511356 w 3511357"/>
              <a:gd name="connsiteY12" fmla="*/ 548402 h 1096804"/>
              <a:gd name="connsiteX13" fmla="*/ 3350733 w 3511357"/>
              <a:gd name="connsiteY13" fmla="*/ 936181 h 1096804"/>
              <a:gd name="connsiteX0" fmla="*/ 3679639 w 3840263"/>
              <a:gd name="connsiteY0" fmla="*/ 936181 h 1096804"/>
              <a:gd name="connsiteX1" fmla="*/ 3291860 w 3840263"/>
              <a:gd name="connsiteY1" fmla="*/ 1096804 h 1096804"/>
              <a:gd name="connsiteX2" fmla="*/ 0 w 3840263"/>
              <a:gd name="connsiteY2" fmla="*/ 1094138 h 1096804"/>
              <a:gd name="connsiteX3" fmla="*/ 1257401 w 3840263"/>
              <a:gd name="connsiteY3" fmla="*/ 562438 h 1096804"/>
              <a:gd name="connsiteX4" fmla="*/ 708999 w 3840263"/>
              <a:gd name="connsiteY4" fmla="*/ 14036 h 1096804"/>
              <a:gd name="connsiteX5" fmla="*/ 709000 w 3840263"/>
              <a:gd name="connsiteY5" fmla="*/ 14035 h 1096804"/>
              <a:gd name="connsiteX6" fmla="*/ 402383 w 3840263"/>
              <a:gd name="connsiteY6" fmla="*/ 107694 h 1096804"/>
              <a:gd name="connsiteX7" fmla="*/ 328906 w 3840263"/>
              <a:gd name="connsiteY7" fmla="*/ 168317 h 1096804"/>
              <a:gd name="connsiteX8" fmla="*/ 335254 w 3840263"/>
              <a:gd name="connsiteY8" fmla="*/ 160623 h 1096804"/>
              <a:gd name="connsiteX9" fmla="*/ 723033 w 3840263"/>
              <a:gd name="connsiteY9" fmla="*/ 0 h 1096804"/>
              <a:gd name="connsiteX10" fmla="*/ 3291861 w 3840263"/>
              <a:gd name="connsiteY10" fmla="*/ 0 h 1096804"/>
              <a:gd name="connsiteX11" fmla="*/ 3840263 w 3840263"/>
              <a:gd name="connsiteY11" fmla="*/ 548402 h 1096804"/>
              <a:gd name="connsiteX12" fmla="*/ 3840262 w 3840263"/>
              <a:gd name="connsiteY12" fmla="*/ 548402 h 1096804"/>
              <a:gd name="connsiteX13" fmla="*/ 3679639 w 3840263"/>
              <a:gd name="connsiteY13" fmla="*/ 936181 h 1096804"/>
              <a:gd name="connsiteX0" fmla="*/ 3679639 w 3840263"/>
              <a:gd name="connsiteY0" fmla="*/ 936181 h 1096804"/>
              <a:gd name="connsiteX1" fmla="*/ 3291860 w 3840263"/>
              <a:gd name="connsiteY1" fmla="*/ 1096804 h 1096804"/>
              <a:gd name="connsiteX2" fmla="*/ 0 w 3840263"/>
              <a:gd name="connsiteY2" fmla="*/ 1094138 h 1096804"/>
              <a:gd name="connsiteX3" fmla="*/ 231535 w 3840263"/>
              <a:gd name="connsiteY3" fmla="*/ 529578 h 1096804"/>
              <a:gd name="connsiteX4" fmla="*/ 708999 w 3840263"/>
              <a:gd name="connsiteY4" fmla="*/ 14036 h 1096804"/>
              <a:gd name="connsiteX5" fmla="*/ 709000 w 3840263"/>
              <a:gd name="connsiteY5" fmla="*/ 14035 h 1096804"/>
              <a:gd name="connsiteX6" fmla="*/ 402383 w 3840263"/>
              <a:gd name="connsiteY6" fmla="*/ 107694 h 1096804"/>
              <a:gd name="connsiteX7" fmla="*/ 328906 w 3840263"/>
              <a:gd name="connsiteY7" fmla="*/ 168317 h 1096804"/>
              <a:gd name="connsiteX8" fmla="*/ 335254 w 3840263"/>
              <a:gd name="connsiteY8" fmla="*/ 160623 h 1096804"/>
              <a:gd name="connsiteX9" fmla="*/ 723033 w 3840263"/>
              <a:gd name="connsiteY9" fmla="*/ 0 h 1096804"/>
              <a:gd name="connsiteX10" fmla="*/ 3291861 w 3840263"/>
              <a:gd name="connsiteY10" fmla="*/ 0 h 1096804"/>
              <a:gd name="connsiteX11" fmla="*/ 3840263 w 3840263"/>
              <a:gd name="connsiteY11" fmla="*/ 548402 h 1096804"/>
              <a:gd name="connsiteX12" fmla="*/ 3840262 w 3840263"/>
              <a:gd name="connsiteY12" fmla="*/ 548402 h 1096804"/>
              <a:gd name="connsiteX13" fmla="*/ 3679639 w 3840263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7444 w 4576172"/>
              <a:gd name="connsiteY3" fmla="*/ 529578 h 1096804"/>
              <a:gd name="connsiteX4" fmla="*/ 1444908 w 4576172"/>
              <a:gd name="connsiteY4" fmla="*/ 14036 h 1096804"/>
              <a:gd name="connsiteX5" fmla="*/ 1444909 w 4576172"/>
              <a:gd name="connsiteY5" fmla="*/ 14035 h 1096804"/>
              <a:gd name="connsiteX6" fmla="*/ 1138292 w 4576172"/>
              <a:gd name="connsiteY6" fmla="*/ 107694 h 1096804"/>
              <a:gd name="connsiteX7" fmla="*/ 1064815 w 4576172"/>
              <a:gd name="connsiteY7" fmla="*/ 168317 h 1096804"/>
              <a:gd name="connsiteX8" fmla="*/ 0 w 4576172"/>
              <a:gd name="connsiteY8" fmla="*/ 191772 h 1096804"/>
              <a:gd name="connsiteX9" fmla="*/ 1458942 w 4576172"/>
              <a:gd name="connsiteY9" fmla="*/ 0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7444 w 4576172"/>
              <a:gd name="connsiteY3" fmla="*/ 529578 h 1096804"/>
              <a:gd name="connsiteX4" fmla="*/ 1444908 w 4576172"/>
              <a:gd name="connsiteY4" fmla="*/ 14036 h 1096804"/>
              <a:gd name="connsiteX5" fmla="*/ 1444909 w 4576172"/>
              <a:gd name="connsiteY5" fmla="*/ 14035 h 1096804"/>
              <a:gd name="connsiteX6" fmla="*/ 1138292 w 4576172"/>
              <a:gd name="connsiteY6" fmla="*/ 107694 h 1096804"/>
              <a:gd name="connsiteX7" fmla="*/ 1064815 w 4576172"/>
              <a:gd name="connsiteY7" fmla="*/ 168317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7444 w 4576172"/>
              <a:gd name="connsiteY3" fmla="*/ 529578 h 1096804"/>
              <a:gd name="connsiteX4" fmla="*/ 1444908 w 4576172"/>
              <a:gd name="connsiteY4" fmla="*/ 14036 h 1096804"/>
              <a:gd name="connsiteX5" fmla="*/ 1444909 w 4576172"/>
              <a:gd name="connsiteY5" fmla="*/ 14035 h 1096804"/>
              <a:gd name="connsiteX6" fmla="*/ 1138292 w 4576172"/>
              <a:gd name="connsiteY6" fmla="*/ 107694 h 1096804"/>
              <a:gd name="connsiteX7" fmla="*/ 77700 w 4576172"/>
              <a:gd name="connsiteY7" fmla="*/ 136674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7444 w 4576172"/>
              <a:gd name="connsiteY3" fmla="*/ 529578 h 1096804"/>
              <a:gd name="connsiteX4" fmla="*/ 1444908 w 4576172"/>
              <a:gd name="connsiteY4" fmla="*/ 14036 h 1096804"/>
              <a:gd name="connsiteX5" fmla="*/ 1444909 w 4576172"/>
              <a:gd name="connsiteY5" fmla="*/ 14035 h 1096804"/>
              <a:gd name="connsiteX6" fmla="*/ 240945 w 4576172"/>
              <a:gd name="connsiteY6" fmla="*/ 53896 h 1096804"/>
              <a:gd name="connsiteX7" fmla="*/ 77700 w 4576172"/>
              <a:gd name="connsiteY7" fmla="*/ 136674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7444 w 4576172"/>
              <a:gd name="connsiteY3" fmla="*/ 529578 h 1096804"/>
              <a:gd name="connsiteX4" fmla="*/ 1444908 w 4576172"/>
              <a:gd name="connsiteY4" fmla="*/ 14036 h 1096804"/>
              <a:gd name="connsiteX5" fmla="*/ 595845 w 4576172"/>
              <a:gd name="connsiteY5" fmla="*/ 29178 h 1096804"/>
              <a:gd name="connsiteX6" fmla="*/ 240945 w 4576172"/>
              <a:gd name="connsiteY6" fmla="*/ 53896 h 1096804"/>
              <a:gd name="connsiteX7" fmla="*/ 77700 w 4576172"/>
              <a:gd name="connsiteY7" fmla="*/ 136674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7444 w 4576172"/>
              <a:gd name="connsiteY3" fmla="*/ 529578 h 1096804"/>
              <a:gd name="connsiteX4" fmla="*/ 814339 w 4576172"/>
              <a:gd name="connsiteY4" fmla="*/ 170390 h 1096804"/>
              <a:gd name="connsiteX5" fmla="*/ 595845 w 4576172"/>
              <a:gd name="connsiteY5" fmla="*/ 29178 h 1096804"/>
              <a:gd name="connsiteX6" fmla="*/ 240945 w 4576172"/>
              <a:gd name="connsiteY6" fmla="*/ 53896 h 1096804"/>
              <a:gd name="connsiteX7" fmla="*/ 77700 w 4576172"/>
              <a:gd name="connsiteY7" fmla="*/ 136674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83423 w 4576172"/>
              <a:gd name="connsiteY3" fmla="*/ 543843 h 1096804"/>
              <a:gd name="connsiteX4" fmla="*/ 814339 w 4576172"/>
              <a:gd name="connsiteY4" fmla="*/ 170390 h 1096804"/>
              <a:gd name="connsiteX5" fmla="*/ 595845 w 4576172"/>
              <a:gd name="connsiteY5" fmla="*/ 29178 h 1096804"/>
              <a:gd name="connsiteX6" fmla="*/ 240945 w 4576172"/>
              <a:gd name="connsiteY6" fmla="*/ 53896 h 1096804"/>
              <a:gd name="connsiteX7" fmla="*/ 77700 w 4576172"/>
              <a:gd name="connsiteY7" fmla="*/ 136674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83423 w 4576172"/>
              <a:gd name="connsiteY3" fmla="*/ 543843 h 1096804"/>
              <a:gd name="connsiteX4" fmla="*/ 814339 w 4576172"/>
              <a:gd name="connsiteY4" fmla="*/ 170390 h 1096804"/>
              <a:gd name="connsiteX5" fmla="*/ 595845 w 4576172"/>
              <a:gd name="connsiteY5" fmla="*/ 29178 h 1096804"/>
              <a:gd name="connsiteX6" fmla="*/ 240945 w 4576172"/>
              <a:gd name="connsiteY6" fmla="*/ 53896 h 1096804"/>
              <a:gd name="connsiteX7" fmla="*/ 77700 w 4576172"/>
              <a:gd name="connsiteY7" fmla="*/ 136674 h 1096804"/>
              <a:gd name="connsiteX8" fmla="*/ 0 w 4576172"/>
              <a:gd name="connsiteY8" fmla="*/ 191772 h 1096804"/>
              <a:gd name="connsiteX9" fmla="*/ 395311 w 4576172"/>
              <a:gd name="connsiteY9" fmla="*/ 3417 h 1096804"/>
              <a:gd name="connsiteX10" fmla="*/ 4027770 w 4576172"/>
              <a:gd name="connsiteY10" fmla="*/ 0 h 1096804"/>
              <a:gd name="connsiteX11" fmla="*/ 4576172 w 4576172"/>
              <a:gd name="connsiteY11" fmla="*/ 548402 h 1096804"/>
              <a:gd name="connsiteX12" fmla="*/ 4576171 w 4576172"/>
              <a:gd name="connsiteY12" fmla="*/ 548402 h 1096804"/>
              <a:gd name="connsiteX13" fmla="*/ 4415548 w 4576172"/>
              <a:gd name="connsiteY13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83423 w 4576172"/>
              <a:gd name="connsiteY3" fmla="*/ 543843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4504 w 4576172"/>
              <a:gd name="connsiteY3" fmla="*/ 531263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4504 w 4576172"/>
              <a:gd name="connsiteY3" fmla="*/ 531263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4504 w 4576172"/>
              <a:gd name="connsiteY3" fmla="*/ 531263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6125 w 4576172"/>
              <a:gd name="connsiteY3" fmla="*/ 479592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6125 w 4576172"/>
              <a:gd name="connsiteY3" fmla="*/ 479592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6125 w 4576172"/>
              <a:gd name="connsiteY3" fmla="*/ 479592 h 1096804"/>
              <a:gd name="connsiteX4" fmla="*/ 595845 w 4576172"/>
              <a:gd name="connsiteY4" fmla="*/ 29178 h 1096804"/>
              <a:gd name="connsiteX5" fmla="*/ 240945 w 4576172"/>
              <a:gd name="connsiteY5" fmla="*/ 53896 h 1096804"/>
              <a:gd name="connsiteX6" fmla="*/ 77700 w 4576172"/>
              <a:gd name="connsiteY6" fmla="*/ 136674 h 1096804"/>
              <a:gd name="connsiteX7" fmla="*/ 0 w 4576172"/>
              <a:gd name="connsiteY7" fmla="*/ 191772 h 1096804"/>
              <a:gd name="connsiteX8" fmla="*/ 395311 w 4576172"/>
              <a:gd name="connsiteY8" fmla="*/ 3417 h 1096804"/>
              <a:gd name="connsiteX9" fmla="*/ 4027770 w 4576172"/>
              <a:gd name="connsiteY9" fmla="*/ 0 h 1096804"/>
              <a:gd name="connsiteX10" fmla="*/ 4576172 w 4576172"/>
              <a:gd name="connsiteY10" fmla="*/ 548402 h 1096804"/>
              <a:gd name="connsiteX11" fmla="*/ 4576171 w 4576172"/>
              <a:gd name="connsiteY11" fmla="*/ 548402 h 1096804"/>
              <a:gd name="connsiteX12" fmla="*/ 4415548 w 4576172"/>
              <a:gd name="connsiteY12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6125 w 4576172"/>
              <a:gd name="connsiteY3" fmla="*/ 479592 h 1096804"/>
              <a:gd name="connsiteX4" fmla="*/ 595845 w 4576172"/>
              <a:gd name="connsiteY4" fmla="*/ 29178 h 1096804"/>
              <a:gd name="connsiteX5" fmla="*/ 77700 w 4576172"/>
              <a:gd name="connsiteY5" fmla="*/ 136674 h 1096804"/>
              <a:gd name="connsiteX6" fmla="*/ 0 w 4576172"/>
              <a:gd name="connsiteY6" fmla="*/ 191772 h 1096804"/>
              <a:gd name="connsiteX7" fmla="*/ 395311 w 4576172"/>
              <a:gd name="connsiteY7" fmla="*/ 3417 h 1096804"/>
              <a:gd name="connsiteX8" fmla="*/ 4027770 w 4576172"/>
              <a:gd name="connsiteY8" fmla="*/ 0 h 1096804"/>
              <a:gd name="connsiteX9" fmla="*/ 4576172 w 4576172"/>
              <a:gd name="connsiteY9" fmla="*/ 548402 h 1096804"/>
              <a:gd name="connsiteX10" fmla="*/ 4576171 w 4576172"/>
              <a:gd name="connsiteY10" fmla="*/ 548402 h 1096804"/>
              <a:gd name="connsiteX11" fmla="*/ 4415548 w 4576172"/>
              <a:gd name="connsiteY11" fmla="*/ 936181 h 1096804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6125 w 4576172"/>
              <a:gd name="connsiteY3" fmla="*/ 479592 h 1096804"/>
              <a:gd name="connsiteX4" fmla="*/ 595845 w 4576172"/>
              <a:gd name="connsiteY4" fmla="*/ 29178 h 1096804"/>
              <a:gd name="connsiteX5" fmla="*/ 0 w 4576172"/>
              <a:gd name="connsiteY5" fmla="*/ 191772 h 1096804"/>
              <a:gd name="connsiteX6" fmla="*/ 395311 w 4576172"/>
              <a:gd name="connsiteY6" fmla="*/ 3417 h 1096804"/>
              <a:gd name="connsiteX7" fmla="*/ 4027770 w 4576172"/>
              <a:gd name="connsiteY7" fmla="*/ 0 h 1096804"/>
              <a:gd name="connsiteX8" fmla="*/ 4576172 w 4576172"/>
              <a:gd name="connsiteY8" fmla="*/ 548402 h 1096804"/>
              <a:gd name="connsiteX9" fmla="*/ 4576171 w 4576172"/>
              <a:gd name="connsiteY9" fmla="*/ 548402 h 1096804"/>
              <a:gd name="connsiteX10" fmla="*/ 4415548 w 4576172"/>
              <a:gd name="connsiteY10" fmla="*/ 936181 h 1096804"/>
              <a:gd name="connsiteX0" fmla="*/ 4415548 w 4576172"/>
              <a:gd name="connsiteY0" fmla="*/ 1005316 h 1165939"/>
              <a:gd name="connsiteX1" fmla="*/ 4027769 w 4576172"/>
              <a:gd name="connsiteY1" fmla="*/ 1165939 h 1165939"/>
              <a:gd name="connsiteX2" fmla="*/ 735909 w 4576172"/>
              <a:gd name="connsiteY2" fmla="*/ 1163273 h 1165939"/>
              <a:gd name="connsiteX3" fmla="*/ 966125 w 4576172"/>
              <a:gd name="connsiteY3" fmla="*/ 548727 h 1165939"/>
              <a:gd name="connsiteX4" fmla="*/ 581456 w 4576172"/>
              <a:gd name="connsiteY4" fmla="*/ 5073 h 1165939"/>
              <a:gd name="connsiteX5" fmla="*/ 0 w 4576172"/>
              <a:gd name="connsiteY5" fmla="*/ 260907 h 1165939"/>
              <a:gd name="connsiteX6" fmla="*/ 395311 w 4576172"/>
              <a:gd name="connsiteY6" fmla="*/ 72552 h 1165939"/>
              <a:gd name="connsiteX7" fmla="*/ 4027770 w 4576172"/>
              <a:gd name="connsiteY7" fmla="*/ 69135 h 1165939"/>
              <a:gd name="connsiteX8" fmla="*/ 4576172 w 4576172"/>
              <a:gd name="connsiteY8" fmla="*/ 617537 h 1165939"/>
              <a:gd name="connsiteX9" fmla="*/ 4576171 w 4576172"/>
              <a:gd name="connsiteY9" fmla="*/ 617537 h 1165939"/>
              <a:gd name="connsiteX10" fmla="*/ 4415548 w 4576172"/>
              <a:gd name="connsiteY10" fmla="*/ 1005316 h 1165939"/>
              <a:gd name="connsiteX0" fmla="*/ 4415548 w 4576172"/>
              <a:gd name="connsiteY0" fmla="*/ 936181 h 1096804"/>
              <a:gd name="connsiteX1" fmla="*/ 4027769 w 4576172"/>
              <a:gd name="connsiteY1" fmla="*/ 1096804 h 1096804"/>
              <a:gd name="connsiteX2" fmla="*/ 735909 w 4576172"/>
              <a:gd name="connsiteY2" fmla="*/ 1094138 h 1096804"/>
              <a:gd name="connsiteX3" fmla="*/ 966125 w 4576172"/>
              <a:gd name="connsiteY3" fmla="*/ 479592 h 1096804"/>
              <a:gd name="connsiteX4" fmla="*/ 531132 w 4576172"/>
              <a:gd name="connsiteY4" fmla="*/ 11609 h 1096804"/>
              <a:gd name="connsiteX5" fmla="*/ 0 w 4576172"/>
              <a:gd name="connsiteY5" fmla="*/ 191772 h 1096804"/>
              <a:gd name="connsiteX6" fmla="*/ 395311 w 4576172"/>
              <a:gd name="connsiteY6" fmla="*/ 3417 h 1096804"/>
              <a:gd name="connsiteX7" fmla="*/ 4027770 w 4576172"/>
              <a:gd name="connsiteY7" fmla="*/ 0 h 1096804"/>
              <a:gd name="connsiteX8" fmla="*/ 4576172 w 4576172"/>
              <a:gd name="connsiteY8" fmla="*/ 548402 h 1096804"/>
              <a:gd name="connsiteX9" fmla="*/ 4576171 w 4576172"/>
              <a:gd name="connsiteY9" fmla="*/ 548402 h 1096804"/>
              <a:gd name="connsiteX10" fmla="*/ 4415548 w 4576172"/>
              <a:gd name="connsiteY10" fmla="*/ 936181 h 1096804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31132 w 4576172"/>
              <a:gd name="connsiteY4" fmla="*/ 189717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7477 w 4576172"/>
              <a:gd name="connsiteY4" fmla="*/ 156932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2886 w 4576172"/>
              <a:gd name="connsiteY4" fmla="*/ 182982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2886 w 4576172"/>
              <a:gd name="connsiteY4" fmla="*/ 182982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2886 w 4576172"/>
              <a:gd name="connsiteY4" fmla="*/ 182982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7937 w 4576172"/>
              <a:gd name="connsiteY4" fmla="*/ 191798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7937 w 4576172"/>
              <a:gd name="connsiteY4" fmla="*/ 191798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7937 w 4576172"/>
              <a:gd name="connsiteY4" fmla="*/ 191798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6125 w 4576172"/>
              <a:gd name="connsiteY3" fmla="*/ 657700 h 1274912"/>
              <a:gd name="connsiteX4" fmla="*/ 547937 w 4576172"/>
              <a:gd name="connsiteY4" fmla="*/ 191798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4442 w 4576172"/>
              <a:gd name="connsiteY3" fmla="*/ 654761 h 1274912"/>
              <a:gd name="connsiteX4" fmla="*/ 547937 w 4576172"/>
              <a:gd name="connsiteY4" fmla="*/ 191798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1114289 h 1274912"/>
              <a:gd name="connsiteX1" fmla="*/ 4027769 w 4576172"/>
              <a:gd name="connsiteY1" fmla="*/ 1274912 h 1274912"/>
              <a:gd name="connsiteX2" fmla="*/ 735909 w 4576172"/>
              <a:gd name="connsiteY2" fmla="*/ 1272246 h 1274912"/>
              <a:gd name="connsiteX3" fmla="*/ 964442 w 4576172"/>
              <a:gd name="connsiteY3" fmla="*/ 654761 h 1274912"/>
              <a:gd name="connsiteX4" fmla="*/ 547937 w 4576172"/>
              <a:gd name="connsiteY4" fmla="*/ 191798 h 1274912"/>
              <a:gd name="connsiteX5" fmla="*/ 0 w 4576172"/>
              <a:gd name="connsiteY5" fmla="*/ 369880 h 1274912"/>
              <a:gd name="connsiteX6" fmla="*/ 439633 w 4576172"/>
              <a:gd name="connsiteY6" fmla="*/ 0 h 1274912"/>
              <a:gd name="connsiteX7" fmla="*/ 4027770 w 4576172"/>
              <a:gd name="connsiteY7" fmla="*/ 178108 h 1274912"/>
              <a:gd name="connsiteX8" fmla="*/ 4576172 w 4576172"/>
              <a:gd name="connsiteY8" fmla="*/ 726510 h 1274912"/>
              <a:gd name="connsiteX9" fmla="*/ 4576171 w 4576172"/>
              <a:gd name="connsiteY9" fmla="*/ 726510 h 1274912"/>
              <a:gd name="connsiteX10" fmla="*/ 4415548 w 4576172"/>
              <a:gd name="connsiteY10" fmla="*/ 1114289 h 1274912"/>
              <a:gd name="connsiteX0" fmla="*/ 4415548 w 4576172"/>
              <a:gd name="connsiteY0" fmla="*/ 939030 h 1099653"/>
              <a:gd name="connsiteX1" fmla="*/ 4027769 w 4576172"/>
              <a:gd name="connsiteY1" fmla="*/ 1099653 h 1099653"/>
              <a:gd name="connsiteX2" fmla="*/ 735909 w 4576172"/>
              <a:gd name="connsiteY2" fmla="*/ 1096987 h 1099653"/>
              <a:gd name="connsiteX3" fmla="*/ 964442 w 4576172"/>
              <a:gd name="connsiteY3" fmla="*/ 479502 h 1099653"/>
              <a:gd name="connsiteX4" fmla="*/ 547937 w 4576172"/>
              <a:gd name="connsiteY4" fmla="*/ 16539 h 1099653"/>
              <a:gd name="connsiteX5" fmla="*/ 0 w 4576172"/>
              <a:gd name="connsiteY5" fmla="*/ 194621 h 1099653"/>
              <a:gd name="connsiteX6" fmla="*/ 1188325 w 4576172"/>
              <a:gd name="connsiteY6" fmla="*/ 293536 h 1099653"/>
              <a:gd name="connsiteX7" fmla="*/ 4027770 w 4576172"/>
              <a:gd name="connsiteY7" fmla="*/ 2849 h 1099653"/>
              <a:gd name="connsiteX8" fmla="*/ 4576172 w 4576172"/>
              <a:gd name="connsiteY8" fmla="*/ 551251 h 1099653"/>
              <a:gd name="connsiteX9" fmla="*/ 4576171 w 4576172"/>
              <a:gd name="connsiteY9" fmla="*/ 551251 h 1099653"/>
              <a:gd name="connsiteX10" fmla="*/ 4415548 w 4576172"/>
              <a:gd name="connsiteY10" fmla="*/ 939030 h 1099653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4442 w 4576172"/>
              <a:gd name="connsiteY3" fmla="*/ 512327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4442 w 4576172"/>
              <a:gd name="connsiteY3" fmla="*/ 512327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4442 w 4576172"/>
              <a:gd name="connsiteY3" fmla="*/ 512327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58564 w 4576172"/>
              <a:gd name="connsiteY3" fmla="*/ 515694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58564 w 4576172"/>
              <a:gd name="connsiteY3" fmla="*/ 515694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1009998 w 4576172"/>
              <a:gd name="connsiteY3" fmla="*/ 506480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547937 w 4576172"/>
              <a:gd name="connsiteY4" fmla="*/ 49364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564489 w 4576172"/>
              <a:gd name="connsiteY4" fmla="*/ 35830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590223 w 4576172"/>
              <a:gd name="connsiteY4" fmla="*/ 45393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590223 w 4576172"/>
              <a:gd name="connsiteY4" fmla="*/ 45393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51284 w 4576172"/>
              <a:gd name="connsiteY4" fmla="*/ 67122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51284 w 4576172"/>
              <a:gd name="connsiteY4" fmla="*/ 67122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51284 w 4576172"/>
              <a:gd name="connsiteY4" fmla="*/ 67122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51284 w 4576172"/>
              <a:gd name="connsiteY4" fmla="*/ 67122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72066 w 4576172"/>
              <a:gd name="connsiteY3" fmla="*/ 503908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  <a:gd name="connsiteX0" fmla="*/ 4415548 w 4576172"/>
              <a:gd name="connsiteY0" fmla="*/ 971855 h 1132478"/>
              <a:gd name="connsiteX1" fmla="*/ 4027769 w 4576172"/>
              <a:gd name="connsiteY1" fmla="*/ 1132478 h 1132478"/>
              <a:gd name="connsiteX2" fmla="*/ 735909 w 4576172"/>
              <a:gd name="connsiteY2" fmla="*/ 1129812 h 1132478"/>
              <a:gd name="connsiteX3" fmla="*/ 965966 w 4576172"/>
              <a:gd name="connsiteY3" fmla="*/ 507402 h 1132478"/>
              <a:gd name="connsiteX4" fmla="*/ 644326 w 4576172"/>
              <a:gd name="connsiteY4" fmla="*/ 83261 h 1132478"/>
              <a:gd name="connsiteX5" fmla="*/ 0 w 4576172"/>
              <a:gd name="connsiteY5" fmla="*/ 227446 h 1132478"/>
              <a:gd name="connsiteX6" fmla="*/ 415851 w 4576172"/>
              <a:gd name="connsiteY6" fmla="*/ 0 h 1132478"/>
              <a:gd name="connsiteX7" fmla="*/ 4027770 w 4576172"/>
              <a:gd name="connsiteY7" fmla="*/ 35674 h 1132478"/>
              <a:gd name="connsiteX8" fmla="*/ 4576172 w 4576172"/>
              <a:gd name="connsiteY8" fmla="*/ 584076 h 1132478"/>
              <a:gd name="connsiteX9" fmla="*/ 4576171 w 4576172"/>
              <a:gd name="connsiteY9" fmla="*/ 584076 h 1132478"/>
              <a:gd name="connsiteX10" fmla="*/ 4415548 w 4576172"/>
              <a:gd name="connsiteY10" fmla="*/ 971855 h 1132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576172" h="1132478">
                <a:moveTo>
                  <a:pt x="4415548" y="971855"/>
                </a:moveTo>
                <a:cubicBezTo>
                  <a:pt x="4316306" y="1071096"/>
                  <a:pt x="4179206" y="1132478"/>
                  <a:pt x="4027769" y="1132478"/>
                </a:cubicBezTo>
                <a:lnTo>
                  <a:pt x="735909" y="1129812"/>
                </a:lnTo>
                <a:cubicBezTo>
                  <a:pt x="880218" y="891839"/>
                  <a:pt x="981230" y="681827"/>
                  <a:pt x="965966" y="507402"/>
                </a:cubicBezTo>
                <a:cubicBezTo>
                  <a:pt x="950702" y="332977"/>
                  <a:pt x="833245" y="150379"/>
                  <a:pt x="644326" y="83261"/>
                </a:cubicBezTo>
                <a:cubicBezTo>
                  <a:pt x="486379" y="27147"/>
                  <a:pt x="262811" y="-13176"/>
                  <a:pt x="0" y="227446"/>
                </a:cubicBezTo>
                <a:cubicBezTo>
                  <a:pt x="131900" y="93290"/>
                  <a:pt x="264414" y="0"/>
                  <a:pt x="415851" y="0"/>
                </a:cubicBezTo>
                <a:lnTo>
                  <a:pt x="4027770" y="35674"/>
                </a:lnTo>
                <a:cubicBezTo>
                  <a:pt x="4330644" y="35674"/>
                  <a:pt x="4576172" y="281202"/>
                  <a:pt x="4576172" y="584076"/>
                </a:cubicBezTo>
                <a:lnTo>
                  <a:pt x="4576171" y="584076"/>
                </a:lnTo>
                <a:cubicBezTo>
                  <a:pt x="4576171" y="735513"/>
                  <a:pt x="4514789" y="872613"/>
                  <a:pt x="4415548" y="971855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740664">
              <a:defRPr/>
            </a:pPr>
            <a:endParaRPr lang="en-US" sz="648" kern="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8" name="Oval 11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E17B46-3BCB-7E2F-2B8F-64A1A5DDDBE1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7571864" y="3355029"/>
            <a:ext cx="581063" cy="66981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2783C6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norm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740664">
              <a:defRPr/>
            </a:pPr>
            <a:endParaRPr lang="en-US" sz="324" kern="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  <a:latin typeface="Calibri" panose="020F0502020204030204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2C4ED11-4641-B7F1-CB1D-40641C0176F5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671669" y="2095060"/>
            <a:ext cx="581063" cy="66981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27CED7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norm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740664">
              <a:defRPr/>
            </a:pPr>
            <a:endParaRPr lang="en-US" sz="324" kern="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  <a:latin typeface="Calibri" panose="020F0502020204030204"/>
            </a:endParaRPr>
          </a:p>
        </p:txBody>
      </p:sp>
      <p:sp>
        <p:nvSpPr>
          <p:cNvPr id="120" name="Oval 11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73D4123-6B6E-4CEA-30D4-4FBAEAB9D402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>
          <a:xfrm>
            <a:off x="3775958" y="3360843"/>
            <a:ext cx="581063" cy="66981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7ABC9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norm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740664">
              <a:defRPr/>
            </a:pPr>
            <a:endParaRPr lang="en-US" sz="324" kern="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  <a:latin typeface="Calibri" panose="020F0502020204030204"/>
            </a:endParaRPr>
          </a:p>
        </p:txBody>
      </p:sp>
      <p:sp>
        <p:nvSpPr>
          <p:cNvPr id="121" name="Oval 120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F29610F-E31E-1059-F0E1-0282D71E210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>
          <a:xfrm>
            <a:off x="5692504" y="4621135"/>
            <a:ext cx="581063" cy="669818"/>
          </a:xfrm>
          <a:prstGeom prst="ellipse">
            <a:avLst/>
          </a:prstGeom>
          <a:solidFill>
            <a:sysClr val="window" lastClr="FFFFFF"/>
          </a:solidFill>
          <a:ln w="19050" cap="flat" cmpd="sng" algn="ctr">
            <a:solidFill>
              <a:srgbClr val="00B0F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74065" tIns="37033" rIns="74065" bIns="37033" numCol="1" spcCol="0" rtlCol="0" fromWordArt="0" anchor="ctr" anchorCtr="0" forceAA="0" compatLnSpc="1">
            <a:normAutofit/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algn="ctr" defTabSz="740664">
              <a:defRPr/>
            </a:pPr>
            <a:endParaRPr lang="en-US" sz="324" kern="0" dirty="0">
              <a:solidFill>
                <a:srgbClr val="FFFFFF"/>
              </a:solidFill>
              <a:effectLst>
                <a:glow>
                  <a:scrgbClr r="0" g="0" b="0"/>
                </a:glow>
              </a:effectLst>
              <a:latin typeface="Calibri" panose="020F0502020204030204"/>
            </a:endParaRP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B4A3705-038C-11B3-0E94-152D39692D40}"/>
              </a:ext>
            </a:extLst>
          </p:cNvPr>
          <p:cNvSpPr txBox="1"/>
          <p:nvPr/>
        </p:nvSpPr>
        <p:spPr>
          <a:xfrm rot="19811599">
            <a:off x="5871860" y="4260154"/>
            <a:ext cx="2017265" cy="50445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 defTabSz="987552">
              <a:defRPr/>
            </a:pPr>
            <a:r>
              <a:rPr lang="en-US" sz="972" b="1" kern="0" dirty="0"/>
              <a:t>Response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F686D9-978D-E754-BE07-3DB4C2305E16}"/>
              </a:ext>
            </a:extLst>
          </p:cNvPr>
          <p:cNvSpPr txBox="1"/>
          <p:nvPr/>
        </p:nvSpPr>
        <p:spPr>
          <a:xfrm rot="1821189">
            <a:off x="3912575" y="4153417"/>
            <a:ext cx="2190273" cy="48240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 defTabSz="987552">
              <a:defRPr/>
            </a:pPr>
            <a:r>
              <a:rPr lang="en-US" sz="972" b="1" kern="0" dirty="0">
                <a:solidFill>
                  <a:prstClr val="white"/>
                </a:solidFill>
              </a:rPr>
              <a:t>Recovery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29DAB7F-201A-3972-58D5-8F36541825D2}"/>
              </a:ext>
            </a:extLst>
          </p:cNvPr>
          <p:cNvSpPr txBox="1"/>
          <p:nvPr/>
        </p:nvSpPr>
        <p:spPr>
          <a:xfrm rot="1821189">
            <a:off x="5798793" y="2924760"/>
            <a:ext cx="2142987" cy="50445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 defTabSz="987552">
              <a:defRPr/>
            </a:pPr>
            <a:r>
              <a:rPr lang="en-US" sz="972" b="1" kern="0" dirty="0">
                <a:solidFill>
                  <a:prstClr val="white"/>
                </a:solidFill>
              </a:rPr>
              <a:t>Detection</a:t>
            </a: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3C113514-15C8-2FC0-CA9D-85DC76C81E72}"/>
              </a:ext>
            </a:extLst>
          </p:cNvPr>
          <p:cNvSpPr txBox="1"/>
          <p:nvPr/>
        </p:nvSpPr>
        <p:spPr>
          <a:xfrm rot="19811599">
            <a:off x="4025205" y="2739555"/>
            <a:ext cx="2171009" cy="807139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algn="ctr" defTabSz="987552">
              <a:defRPr/>
            </a:pPr>
            <a:r>
              <a:rPr lang="en-US" sz="972" b="1" kern="0" dirty="0"/>
              <a:t>Preparedness</a:t>
            </a:r>
          </a:p>
          <a:p>
            <a:pPr algn="ctr" defTabSz="987552">
              <a:defRPr/>
            </a:pPr>
            <a:r>
              <a:rPr lang="en-US" sz="972" b="1" kern="0" dirty="0"/>
              <a:t>&amp; Planning</a:t>
            </a:r>
          </a:p>
        </p:txBody>
      </p:sp>
      <p:sp>
        <p:nvSpPr>
          <p:cNvPr id="126" name="Chevron 1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6BC5931-575C-3769-AD85-2A8AA5872DE5}"/>
              </a:ext>
            </a:extLst>
          </p:cNvPr>
          <p:cNvSpPr/>
          <p:nvPr/>
        </p:nvSpPr>
        <p:spPr>
          <a:xfrm rot="1902876">
            <a:off x="7256575" y="3153571"/>
            <a:ext cx="328115" cy="466116"/>
          </a:xfrm>
          <a:prstGeom prst="chevron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87552">
              <a:defRPr/>
            </a:pPr>
            <a:endParaRPr lang="en-US" sz="1944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7" name="Chevron 14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10F1271-4866-5AEA-D019-42B31F3B3CA7}"/>
              </a:ext>
            </a:extLst>
          </p:cNvPr>
          <p:cNvSpPr/>
          <p:nvPr/>
        </p:nvSpPr>
        <p:spPr>
          <a:xfrm rot="1902876">
            <a:off x="6298689" y="2526534"/>
            <a:ext cx="328115" cy="466116"/>
          </a:xfrm>
          <a:prstGeom prst="chevron">
            <a:avLst/>
          </a:prstGeom>
          <a:solidFill>
            <a:schemeClr val="bg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87552">
              <a:defRPr/>
            </a:pPr>
            <a:endParaRPr lang="en-US" sz="1944" kern="0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128" name="Group 12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29102C-594F-F1A9-9359-FB132A8E7C70}"/>
              </a:ext>
            </a:extLst>
          </p:cNvPr>
          <p:cNvGrpSpPr/>
          <p:nvPr/>
        </p:nvGrpSpPr>
        <p:grpSpPr>
          <a:xfrm>
            <a:off x="4467301" y="2504668"/>
            <a:ext cx="1199411" cy="1039506"/>
            <a:chOff x="926866" y="4646767"/>
            <a:chExt cx="576417" cy="433373"/>
          </a:xfrm>
          <a:solidFill>
            <a:schemeClr val="tx1"/>
          </a:solidFill>
        </p:grpSpPr>
        <p:sp>
          <p:nvSpPr>
            <p:cNvPr id="129" name="Chevron 2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EA4416-CFC9-6EDB-3A7C-8352803BF0C3}"/>
                </a:ext>
              </a:extLst>
            </p:cNvPr>
            <p:cNvSpPr/>
            <p:nvPr/>
          </p:nvSpPr>
          <p:spPr>
            <a:xfrm rot="19902876">
              <a:off x="1345596" y="4646767"/>
              <a:ext cx="157687" cy="194325"/>
            </a:xfrm>
            <a:prstGeom prst="chevr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87552">
                <a:defRPr/>
              </a:pPr>
              <a:endParaRPr lang="en-US" sz="1944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Chevron 3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66DD000-9836-3F11-19AA-9AD20C96E6D8}"/>
                </a:ext>
              </a:extLst>
            </p:cNvPr>
            <p:cNvSpPr/>
            <p:nvPr/>
          </p:nvSpPr>
          <p:spPr>
            <a:xfrm rot="19902876">
              <a:off x="926866" y="4885815"/>
              <a:ext cx="157687" cy="194325"/>
            </a:xfrm>
            <a:prstGeom prst="chevron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87552">
                <a:defRPr/>
              </a:pPr>
              <a:endParaRPr lang="en-US" sz="1944" kern="0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31" name="Chevron 1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32674FC-B389-C1F6-37D2-2BFABE381713}"/>
              </a:ext>
            </a:extLst>
          </p:cNvPr>
          <p:cNvSpPr/>
          <p:nvPr/>
        </p:nvSpPr>
        <p:spPr>
          <a:xfrm rot="9102876">
            <a:off x="6256347" y="4431113"/>
            <a:ext cx="328115" cy="466116"/>
          </a:xfrm>
          <a:prstGeom prst="chevron">
            <a:avLst/>
          </a:prstGeom>
          <a:solidFill>
            <a:schemeClr val="tx1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87552">
              <a:defRPr/>
            </a:pPr>
            <a:endParaRPr lang="en-US" sz="1944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2" name="Chevron 1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4CD82A9-0FB0-6D64-AC8E-CBE20C147384}"/>
              </a:ext>
            </a:extLst>
          </p:cNvPr>
          <p:cNvSpPr/>
          <p:nvPr/>
        </p:nvSpPr>
        <p:spPr>
          <a:xfrm rot="9102876">
            <a:off x="7110858" y="3861863"/>
            <a:ext cx="328115" cy="466116"/>
          </a:xfrm>
          <a:prstGeom prst="chevron">
            <a:avLst/>
          </a:prstGeom>
          <a:solidFill>
            <a:schemeClr val="tx1">
              <a:alpha val="2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87552">
              <a:defRPr/>
            </a:pPr>
            <a:endParaRPr lang="en-US" sz="1944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3" name="Antenna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C92A8E-FCDE-BADC-98DD-57796FDC88CE}"/>
              </a:ext>
            </a:extLst>
          </p:cNvPr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7628210" y="3468526"/>
            <a:ext cx="471239" cy="457387"/>
          </a:xfrm>
          <a:custGeom>
            <a:avLst/>
            <a:gdLst>
              <a:gd name="T0" fmla="*/ 75 w 200"/>
              <a:gd name="T1" fmla="*/ 84 h 168"/>
              <a:gd name="T2" fmla="*/ 100 w 200"/>
              <a:gd name="T3" fmla="*/ 59 h 168"/>
              <a:gd name="T4" fmla="*/ 125 w 200"/>
              <a:gd name="T5" fmla="*/ 84 h 168"/>
              <a:gd name="T6" fmla="*/ 100 w 200"/>
              <a:gd name="T7" fmla="*/ 109 h 168"/>
              <a:gd name="T8" fmla="*/ 75 w 200"/>
              <a:gd name="T9" fmla="*/ 84 h 168"/>
              <a:gd name="T10" fmla="*/ 130 w 200"/>
              <a:gd name="T11" fmla="*/ 29 h 168"/>
              <a:gd name="T12" fmla="*/ 163 w 200"/>
              <a:gd name="T13" fmla="*/ 84 h 168"/>
              <a:gd name="T14" fmla="*/ 130 w 200"/>
              <a:gd name="T15" fmla="*/ 139 h 168"/>
              <a:gd name="T16" fmla="*/ 144 w 200"/>
              <a:gd name="T17" fmla="*/ 84 h 168"/>
              <a:gd name="T18" fmla="*/ 130 w 200"/>
              <a:gd name="T19" fmla="*/ 29 h 168"/>
              <a:gd name="T20" fmla="*/ 56 w 200"/>
              <a:gd name="T21" fmla="*/ 84 h 168"/>
              <a:gd name="T22" fmla="*/ 70 w 200"/>
              <a:gd name="T23" fmla="*/ 139 h 168"/>
              <a:gd name="T24" fmla="*/ 38 w 200"/>
              <a:gd name="T25" fmla="*/ 84 h 168"/>
              <a:gd name="T26" fmla="*/ 70 w 200"/>
              <a:gd name="T27" fmla="*/ 29 h 168"/>
              <a:gd name="T28" fmla="*/ 56 w 200"/>
              <a:gd name="T29" fmla="*/ 84 h 168"/>
              <a:gd name="T30" fmla="*/ 19 w 200"/>
              <a:gd name="T31" fmla="*/ 84 h 168"/>
              <a:gd name="T32" fmla="*/ 46 w 200"/>
              <a:gd name="T33" fmla="*/ 168 h 168"/>
              <a:gd name="T34" fmla="*/ 0 w 200"/>
              <a:gd name="T35" fmla="*/ 84 h 168"/>
              <a:gd name="T36" fmla="*/ 46 w 200"/>
              <a:gd name="T37" fmla="*/ 0 h 168"/>
              <a:gd name="T38" fmla="*/ 19 w 200"/>
              <a:gd name="T39" fmla="*/ 84 h 168"/>
              <a:gd name="T40" fmla="*/ 154 w 200"/>
              <a:gd name="T41" fmla="*/ 0 h 168"/>
              <a:gd name="T42" fmla="*/ 200 w 200"/>
              <a:gd name="T43" fmla="*/ 84 h 168"/>
              <a:gd name="T44" fmla="*/ 154 w 200"/>
              <a:gd name="T45" fmla="*/ 168 h 168"/>
              <a:gd name="T46" fmla="*/ 181 w 200"/>
              <a:gd name="T47" fmla="*/ 84 h 168"/>
              <a:gd name="T48" fmla="*/ 154 w 200"/>
              <a:gd name="T49" fmla="*/ 0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200" h="168">
                <a:moveTo>
                  <a:pt x="75" y="84"/>
                </a:moveTo>
                <a:cubicBezTo>
                  <a:pt x="75" y="70"/>
                  <a:pt x="86" y="59"/>
                  <a:pt x="100" y="59"/>
                </a:cubicBezTo>
                <a:cubicBezTo>
                  <a:pt x="114" y="59"/>
                  <a:pt x="125" y="70"/>
                  <a:pt x="125" y="84"/>
                </a:cubicBezTo>
                <a:cubicBezTo>
                  <a:pt x="125" y="98"/>
                  <a:pt x="114" y="109"/>
                  <a:pt x="100" y="109"/>
                </a:cubicBezTo>
                <a:cubicBezTo>
                  <a:pt x="86" y="109"/>
                  <a:pt x="75" y="98"/>
                  <a:pt x="75" y="84"/>
                </a:cubicBezTo>
                <a:close/>
                <a:moveTo>
                  <a:pt x="130" y="29"/>
                </a:moveTo>
                <a:cubicBezTo>
                  <a:pt x="149" y="40"/>
                  <a:pt x="163" y="60"/>
                  <a:pt x="163" y="84"/>
                </a:cubicBezTo>
                <a:cubicBezTo>
                  <a:pt x="163" y="108"/>
                  <a:pt x="149" y="128"/>
                  <a:pt x="130" y="139"/>
                </a:cubicBezTo>
                <a:cubicBezTo>
                  <a:pt x="138" y="125"/>
                  <a:pt x="144" y="106"/>
                  <a:pt x="144" y="84"/>
                </a:cubicBezTo>
                <a:cubicBezTo>
                  <a:pt x="144" y="62"/>
                  <a:pt x="138" y="43"/>
                  <a:pt x="130" y="29"/>
                </a:cubicBezTo>
                <a:close/>
                <a:moveTo>
                  <a:pt x="56" y="84"/>
                </a:moveTo>
                <a:cubicBezTo>
                  <a:pt x="56" y="106"/>
                  <a:pt x="62" y="125"/>
                  <a:pt x="70" y="139"/>
                </a:cubicBezTo>
                <a:cubicBezTo>
                  <a:pt x="51" y="128"/>
                  <a:pt x="38" y="108"/>
                  <a:pt x="38" y="84"/>
                </a:cubicBezTo>
                <a:cubicBezTo>
                  <a:pt x="38" y="60"/>
                  <a:pt x="51" y="40"/>
                  <a:pt x="70" y="29"/>
                </a:cubicBezTo>
                <a:cubicBezTo>
                  <a:pt x="62" y="43"/>
                  <a:pt x="56" y="62"/>
                  <a:pt x="56" y="84"/>
                </a:cubicBezTo>
                <a:close/>
                <a:moveTo>
                  <a:pt x="19" y="84"/>
                </a:moveTo>
                <a:cubicBezTo>
                  <a:pt x="19" y="118"/>
                  <a:pt x="29" y="148"/>
                  <a:pt x="46" y="168"/>
                </a:cubicBezTo>
                <a:cubicBezTo>
                  <a:pt x="18" y="151"/>
                  <a:pt x="0" y="119"/>
                  <a:pt x="0" y="84"/>
                </a:cubicBezTo>
                <a:cubicBezTo>
                  <a:pt x="0" y="49"/>
                  <a:pt x="18" y="17"/>
                  <a:pt x="46" y="0"/>
                </a:cubicBezTo>
                <a:cubicBezTo>
                  <a:pt x="29" y="20"/>
                  <a:pt x="19" y="50"/>
                  <a:pt x="19" y="84"/>
                </a:cubicBezTo>
                <a:close/>
                <a:moveTo>
                  <a:pt x="154" y="0"/>
                </a:moveTo>
                <a:cubicBezTo>
                  <a:pt x="182" y="17"/>
                  <a:pt x="200" y="49"/>
                  <a:pt x="200" y="84"/>
                </a:cubicBezTo>
                <a:cubicBezTo>
                  <a:pt x="200" y="119"/>
                  <a:pt x="182" y="151"/>
                  <a:pt x="154" y="168"/>
                </a:cubicBezTo>
                <a:cubicBezTo>
                  <a:pt x="171" y="148"/>
                  <a:pt x="181" y="118"/>
                  <a:pt x="181" y="84"/>
                </a:cubicBezTo>
                <a:cubicBezTo>
                  <a:pt x="181" y="50"/>
                  <a:pt x="171" y="20"/>
                  <a:pt x="154" y="0"/>
                </a:cubicBezTo>
                <a:close/>
              </a:path>
            </a:pathLst>
          </a:custGeom>
          <a:solidFill>
            <a:srgbClr val="2683C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8753" tIns="49377" rIns="98753" bIns="49377" numCol="1" anchor="t" anchorCtr="0" compatLnSpc="1">
            <a:prstTxWarp prst="textNoShape">
              <a:avLst/>
            </a:prstTxWarp>
          </a:bodyPr>
          <a:lstStyle/>
          <a:p>
            <a:pPr defTabSz="987552">
              <a:defRPr/>
            </a:pPr>
            <a:endParaRPr lang="en-US" sz="1944" kern="0" dirty="0">
              <a:solidFill>
                <a:prstClr val="black"/>
              </a:solidFill>
            </a:endParaRPr>
          </a:p>
        </p:txBody>
      </p:sp>
      <p:grpSp>
        <p:nvGrpSpPr>
          <p:cNvPr id="134" name="Firewall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5EAAEE7-8AF4-84CA-DB8C-E9F62A18F002}"/>
              </a:ext>
            </a:extLst>
          </p:cNvPr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5746547" y="2167382"/>
            <a:ext cx="429064" cy="528092"/>
            <a:chOff x="4848" y="194"/>
            <a:chExt cx="192" cy="205"/>
          </a:xfrm>
        </p:grpSpPr>
        <p:sp>
          <p:nvSpPr>
            <p:cNvPr id="135" name="Freeform 4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B8046D0-F075-98DD-74E8-1390535678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194"/>
              <a:ext cx="192" cy="205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solidFill>
              <a:srgbClr val="27CED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8753" tIns="49377" rIns="98753" bIns="49377" numCol="1" anchor="t" anchorCtr="0" compatLnSpc="1">
              <a:prstTxWarp prst="textNoShape">
                <a:avLst/>
              </a:prstTxWarp>
            </a:bodyPr>
            <a:lstStyle/>
            <a:p>
              <a:pPr defTabSz="987552">
                <a:defRPr/>
              </a:pPr>
              <a:endParaRPr lang="en-US" sz="1944" kern="0">
                <a:solidFill>
                  <a:prstClr val="black"/>
                </a:solidFill>
              </a:endParaRPr>
            </a:p>
          </p:txBody>
        </p:sp>
        <p:sp>
          <p:nvSpPr>
            <p:cNvPr id="136" name="Freeform 48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6841D6A-A04F-5B1F-54EB-048E4F5E2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8" y="194"/>
              <a:ext cx="192" cy="205"/>
            </a:xfrm>
            <a:custGeom>
              <a:avLst/>
              <a:gdLst>
                <a:gd name="T0" fmla="*/ 199 w 398"/>
                <a:gd name="T1" fmla="*/ 425 h 425"/>
                <a:gd name="T2" fmla="*/ 18 w 398"/>
                <a:gd name="T3" fmla="*/ 85 h 425"/>
                <a:gd name="T4" fmla="*/ 199 w 398"/>
                <a:gd name="T5" fmla="*/ 0 h 425"/>
                <a:gd name="T6" fmla="*/ 380 w 398"/>
                <a:gd name="T7" fmla="*/ 85 h 425"/>
                <a:gd name="T8" fmla="*/ 199 w 398"/>
                <a:gd name="T9" fmla="*/ 425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8" h="425">
                  <a:moveTo>
                    <a:pt x="199" y="425"/>
                  </a:moveTo>
                  <a:cubicBezTo>
                    <a:pt x="0" y="347"/>
                    <a:pt x="18" y="85"/>
                    <a:pt x="18" y="85"/>
                  </a:cubicBezTo>
                  <a:cubicBezTo>
                    <a:pt x="139" y="107"/>
                    <a:pt x="199" y="0"/>
                    <a:pt x="199" y="0"/>
                  </a:cubicBezTo>
                  <a:cubicBezTo>
                    <a:pt x="199" y="0"/>
                    <a:pt x="260" y="107"/>
                    <a:pt x="380" y="85"/>
                  </a:cubicBezTo>
                  <a:cubicBezTo>
                    <a:pt x="380" y="85"/>
                    <a:pt x="398" y="347"/>
                    <a:pt x="199" y="425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8753" tIns="49377" rIns="98753" bIns="49377" numCol="1" anchor="t" anchorCtr="0" compatLnSpc="1">
              <a:prstTxWarp prst="textNoShape">
                <a:avLst/>
              </a:prstTxWarp>
            </a:bodyPr>
            <a:lstStyle/>
            <a:p>
              <a:pPr defTabSz="987552">
                <a:defRPr/>
              </a:pPr>
              <a:endParaRPr lang="en-US" sz="1944" kern="0">
                <a:solidFill>
                  <a:prstClr val="black"/>
                </a:solidFill>
              </a:endParaRPr>
            </a:p>
          </p:txBody>
        </p:sp>
        <p:sp>
          <p:nvSpPr>
            <p:cNvPr id="137" name="Freeform 4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9B0916-6A14-6DCE-23E7-282888A4D7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99" y="260"/>
              <a:ext cx="90" cy="72"/>
            </a:xfrm>
            <a:custGeom>
              <a:avLst/>
              <a:gdLst>
                <a:gd name="T0" fmla="*/ 0 w 187"/>
                <a:gd name="T1" fmla="*/ 88 h 150"/>
                <a:gd name="T2" fmla="*/ 62 w 187"/>
                <a:gd name="T3" fmla="*/ 150 h 150"/>
                <a:gd name="T4" fmla="*/ 187 w 187"/>
                <a:gd name="T5" fmla="*/ 25 h 150"/>
                <a:gd name="T6" fmla="*/ 162 w 187"/>
                <a:gd name="T7" fmla="*/ 0 h 150"/>
                <a:gd name="T8" fmla="*/ 62 w 187"/>
                <a:gd name="T9" fmla="*/ 100 h 150"/>
                <a:gd name="T10" fmla="*/ 25 w 187"/>
                <a:gd name="T11" fmla="*/ 63 h 150"/>
                <a:gd name="T12" fmla="*/ 0 w 187"/>
                <a:gd name="T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7" h="150">
                  <a:moveTo>
                    <a:pt x="0" y="88"/>
                  </a:moveTo>
                  <a:lnTo>
                    <a:pt x="62" y="150"/>
                  </a:lnTo>
                  <a:lnTo>
                    <a:pt x="187" y="25"/>
                  </a:lnTo>
                  <a:lnTo>
                    <a:pt x="162" y="0"/>
                  </a:lnTo>
                  <a:lnTo>
                    <a:pt x="62" y="100"/>
                  </a:lnTo>
                  <a:lnTo>
                    <a:pt x="25" y="63"/>
                  </a:lnTo>
                  <a:lnTo>
                    <a:pt x="0" y="88"/>
                  </a:lnTo>
                  <a:close/>
                </a:path>
              </a:pathLst>
            </a:cu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8753" tIns="49377" rIns="98753" bIns="49377" numCol="1" anchor="t" anchorCtr="0" compatLnSpc="1">
              <a:prstTxWarp prst="textNoShape">
                <a:avLst/>
              </a:prstTxWarp>
            </a:bodyPr>
            <a:lstStyle/>
            <a:p>
              <a:pPr defTabSz="987552">
                <a:defRPr/>
              </a:pPr>
              <a:endParaRPr lang="en-US" sz="1944" kern="0">
                <a:solidFill>
                  <a:prstClr val="black"/>
                </a:solidFill>
              </a:endParaRPr>
            </a:p>
          </p:txBody>
        </p:sp>
      </p:grpSp>
      <p:sp>
        <p:nvSpPr>
          <p:cNvPr id="138" name="Support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46C7A47-7E64-D03A-92DC-F573557A7735}"/>
              </a:ext>
            </a:extLst>
          </p:cNvPr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5759635" y="4698105"/>
            <a:ext cx="454450" cy="524432"/>
          </a:xfrm>
          <a:custGeom>
            <a:avLst/>
            <a:gdLst>
              <a:gd name="T0" fmla="*/ 100 w 200"/>
              <a:gd name="T1" fmla="*/ 0 h 200"/>
              <a:gd name="T2" fmla="*/ 0 w 200"/>
              <a:gd name="T3" fmla="*/ 100 h 200"/>
              <a:gd name="T4" fmla="*/ 100 w 200"/>
              <a:gd name="T5" fmla="*/ 200 h 200"/>
              <a:gd name="T6" fmla="*/ 200 w 200"/>
              <a:gd name="T7" fmla="*/ 100 h 200"/>
              <a:gd name="T8" fmla="*/ 100 w 200"/>
              <a:gd name="T9" fmla="*/ 0 h 200"/>
              <a:gd name="T10" fmla="*/ 63 w 200"/>
              <a:gd name="T11" fmla="*/ 100 h 200"/>
              <a:gd name="T12" fmla="*/ 100 w 200"/>
              <a:gd name="T13" fmla="*/ 63 h 200"/>
              <a:gd name="T14" fmla="*/ 138 w 200"/>
              <a:gd name="T15" fmla="*/ 100 h 200"/>
              <a:gd name="T16" fmla="*/ 100 w 200"/>
              <a:gd name="T17" fmla="*/ 138 h 200"/>
              <a:gd name="T18" fmla="*/ 63 w 200"/>
              <a:gd name="T19" fmla="*/ 100 h 200"/>
              <a:gd name="T20" fmla="*/ 181 w 200"/>
              <a:gd name="T21" fmla="*/ 133 h 200"/>
              <a:gd name="T22" fmla="*/ 181 w 200"/>
              <a:gd name="T23" fmla="*/ 133 h 200"/>
              <a:gd name="T24" fmla="*/ 146 w 200"/>
              <a:gd name="T25" fmla="*/ 119 h 200"/>
              <a:gd name="T26" fmla="*/ 150 w 200"/>
              <a:gd name="T27" fmla="*/ 100 h 200"/>
              <a:gd name="T28" fmla="*/ 146 w 200"/>
              <a:gd name="T29" fmla="*/ 81 h 200"/>
              <a:gd name="T30" fmla="*/ 181 w 200"/>
              <a:gd name="T31" fmla="*/ 67 h 200"/>
              <a:gd name="T32" fmla="*/ 188 w 200"/>
              <a:gd name="T33" fmla="*/ 100 h 200"/>
              <a:gd name="T34" fmla="*/ 181 w 200"/>
              <a:gd name="T35" fmla="*/ 133 h 200"/>
              <a:gd name="T36" fmla="*/ 133 w 200"/>
              <a:gd name="T37" fmla="*/ 19 h 200"/>
              <a:gd name="T38" fmla="*/ 133 w 200"/>
              <a:gd name="T39" fmla="*/ 19 h 200"/>
              <a:gd name="T40" fmla="*/ 133 w 200"/>
              <a:gd name="T41" fmla="*/ 19 h 200"/>
              <a:gd name="T42" fmla="*/ 119 w 200"/>
              <a:gd name="T43" fmla="*/ 54 h 200"/>
              <a:gd name="T44" fmla="*/ 100 w 200"/>
              <a:gd name="T45" fmla="*/ 50 h 200"/>
              <a:gd name="T46" fmla="*/ 81 w 200"/>
              <a:gd name="T47" fmla="*/ 54 h 200"/>
              <a:gd name="T48" fmla="*/ 67 w 200"/>
              <a:gd name="T49" fmla="*/ 19 h 200"/>
              <a:gd name="T50" fmla="*/ 100 w 200"/>
              <a:gd name="T51" fmla="*/ 13 h 200"/>
              <a:gd name="T52" fmla="*/ 133 w 200"/>
              <a:gd name="T53" fmla="*/ 19 h 200"/>
              <a:gd name="T54" fmla="*/ 19 w 200"/>
              <a:gd name="T55" fmla="*/ 67 h 200"/>
              <a:gd name="T56" fmla="*/ 54 w 200"/>
              <a:gd name="T57" fmla="*/ 81 h 200"/>
              <a:gd name="T58" fmla="*/ 50 w 200"/>
              <a:gd name="T59" fmla="*/ 100 h 200"/>
              <a:gd name="T60" fmla="*/ 54 w 200"/>
              <a:gd name="T61" fmla="*/ 119 h 200"/>
              <a:gd name="T62" fmla="*/ 19 w 200"/>
              <a:gd name="T63" fmla="*/ 133 h 200"/>
              <a:gd name="T64" fmla="*/ 13 w 200"/>
              <a:gd name="T65" fmla="*/ 100 h 200"/>
              <a:gd name="T66" fmla="*/ 19 w 200"/>
              <a:gd name="T67" fmla="*/ 67 h 200"/>
              <a:gd name="T68" fmla="*/ 67 w 200"/>
              <a:gd name="T69" fmla="*/ 181 h 200"/>
              <a:gd name="T70" fmla="*/ 81 w 200"/>
              <a:gd name="T71" fmla="*/ 146 h 200"/>
              <a:gd name="T72" fmla="*/ 100 w 200"/>
              <a:gd name="T73" fmla="*/ 150 h 200"/>
              <a:gd name="T74" fmla="*/ 119 w 200"/>
              <a:gd name="T75" fmla="*/ 146 h 200"/>
              <a:gd name="T76" fmla="*/ 133 w 200"/>
              <a:gd name="T77" fmla="*/ 181 h 200"/>
              <a:gd name="T78" fmla="*/ 100 w 200"/>
              <a:gd name="T79" fmla="*/ 188 h 200"/>
              <a:gd name="T80" fmla="*/ 67 w 200"/>
              <a:gd name="T81" fmla="*/ 181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00">
                <a:moveTo>
                  <a:pt x="100" y="0"/>
                </a:moveTo>
                <a:cubicBezTo>
                  <a:pt x="45" y="0"/>
                  <a:pt x="0" y="45"/>
                  <a:pt x="0" y="100"/>
                </a:cubicBezTo>
                <a:cubicBezTo>
                  <a:pt x="0" y="155"/>
                  <a:pt x="45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45"/>
                  <a:pt x="155" y="0"/>
                  <a:pt x="100" y="0"/>
                </a:cubicBezTo>
                <a:close/>
                <a:moveTo>
                  <a:pt x="63" y="100"/>
                </a:moveTo>
                <a:cubicBezTo>
                  <a:pt x="63" y="79"/>
                  <a:pt x="79" y="63"/>
                  <a:pt x="100" y="63"/>
                </a:cubicBezTo>
                <a:cubicBezTo>
                  <a:pt x="121" y="63"/>
                  <a:pt x="138" y="79"/>
                  <a:pt x="138" y="100"/>
                </a:cubicBezTo>
                <a:cubicBezTo>
                  <a:pt x="138" y="121"/>
                  <a:pt x="121" y="138"/>
                  <a:pt x="100" y="138"/>
                </a:cubicBezTo>
                <a:cubicBezTo>
                  <a:pt x="79" y="138"/>
                  <a:pt x="63" y="121"/>
                  <a:pt x="63" y="100"/>
                </a:cubicBezTo>
                <a:close/>
                <a:moveTo>
                  <a:pt x="181" y="133"/>
                </a:moveTo>
                <a:lnTo>
                  <a:pt x="181" y="133"/>
                </a:lnTo>
                <a:lnTo>
                  <a:pt x="146" y="119"/>
                </a:lnTo>
                <a:cubicBezTo>
                  <a:pt x="149" y="113"/>
                  <a:pt x="150" y="107"/>
                  <a:pt x="150" y="100"/>
                </a:cubicBezTo>
                <a:cubicBezTo>
                  <a:pt x="150" y="93"/>
                  <a:pt x="149" y="87"/>
                  <a:pt x="146" y="81"/>
                </a:cubicBezTo>
                <a:lnTo>
                  <a:pt x="181" y="67"/>
                </a:lnTo>
                <a:cubicBezTo>
                  <a:pt x="185" y="77"/>
                  <a:pt x="188" y="88"/>
                  <a:pt x="188" y="100"/>
                </a:cubicBezTo>
                <a:cubicBezTo>
                  <a:pt x="188" y="112"/>
                  <a:pt x="185" y="123"/>
                  <a:pt x="181" y="133"/>
                </a:cubicBezTo>
                <a:close/>
                <a:moveTo>
                  <a:pt x="133" y="19"/>
                </a:moveTo>
                <a:lnTo>
                  <a:pt x="133" y="19"/>
                </a:lnTo>
                <a:lnTo>
                  <a:pt x="133" y="19"/>
                </a:lnTo>
                <a:lnTo>
                  <a:pt x="119" y="54"/>
                </a:lnTo>
                <a:cubicBezTo>
                  <a:pt x="113" y="51"/>
                  <a:pt x="107" y="50"/>
                  <a:pt x="100" y="50"/>
                </a:cubicBezTo>
                <a:cubicBezTo>
                  <a:pt x="93" y="50"/>
                  <a:pt x="87" y="51"/>
                  <a:pt x="81" y="54"/>
                </a:cubicBezTo>
                <a:lnTo>
                  <a:pt x="67" y="19"/>
                </a:lnTo>
                <a:cubicBezTo>
                  <a:pt x="77" y="15"/>
                  <a:pt x="88" y="13"/>
                  <a:pt x="100" y="13"/>
                </a:cubicBezTo>
                <a:cubicBezTo>
                  <a:pt x="112" y="13"/>
                  <a:pt x="123" y="15"/>
                  <a:pt x="133" y="19"/>
                </a:cubicBezTo>
                <a:close/>
                <a:moveTo>
                  <a:pt x="19" y="67"/>
                </a:moveTo>
                <a:lnTo>
                  <a:pt x="54" y="81"/>
                </a:lnTo>
                <a:cubicBezTo>
                  <a:pt x="51" y="87"/>
                  <a:pt x="50" y="93"/>
                  <a:pt x="50" y="100"/>
                </a:cubicBezTo>
                <a:cubicBezTo>
                  <a:pt x="50" y="107"/>
                  <a:pt x="51" y="113"/>
                  <a:pt x="54" y="119"/>
                </a:cubicBezTo>
                <a:lnTo>
                  <a:pt x="19" y="133"/>
                </a:lnTo>
                <a:cubicBezTo>
                  <a:pt x="15" y="123"/>
                  <a:pt x="13" y="112"/>
                  <a:pt x="13" y="100"/>
                </a:cubicBezTo>
                <a:cubicBezTo>
                  <a:pt x="13" y="88"/>
                  <a:pt x="15" y="77"/>
                  <a:pt x="19" y="67"/>
                </a:cubicBezTo>
                <a:close/>
                <a:moveTo>
                  <a:pt x="67" y="181"/>
                </a:moveTo>
                <a:lnTo>
                  <a:pt x="81" y="146"/>
                </a:lnTo>
                <a:cubicBezTo>
                  <a:pt x="87" y="149"/>
                  <a:pt x="93" y="150"/>
                  <a:pt x="100" y="150"/>
                </a:cubicBezTo>
                <a:cubicBezTo>
                  <a:pt x="107" y="150"/>
                  <a:pt x="113" y="149"/>
                  <a:pt x="119" y="146"/>
                </a:cubicBezTo>
                <a:lnTo>
                  <a:pt x="133" y="181"/>
                </a:lnTo>
                <a:cubicBezTo>
                  <a:pt x="123" y="185"/>
                  <a:pt x="112" y="188"/>
                  <a:pt x="100" y="188"/>
                </a:cubicBezTo>
                <a:cubicBezTo>
                  <a:pt x="88" y="188"/>
                  <a:pt x="77" y="185"/>
                  <a:pt x="67" y="181"/>
                </a:cubicBezTo>
                <a:close/>
              </a:path>
            </a:pathLst>
          </a:custGeom>
          <a:solidFill>
            <a:srgbClr val="1CADE4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8753" tIns="49377" rIns="98753" bIns="49377" numCol="1" anchor="t" anchorCtr="0" compatLnSpc="1">
            <a:prstTxWarp prst="textNoShape">
              <a:avLst/>
            </a:prstTxWarp>
          </a:bodyPr>
          <a:lstStyle/>
          <a:p>
            <a:pPr defTabSz="987552">
              <a:defRPr/>
            </a:pPr>
            <a:endParaRPr lang="en-US" sz="1944" kern="0" dirty="0">
              <a:solidFill>
                <a:prstClr val="black"/>
              </a:solidFill>
            </a:endParaRPr>
          </a:p>
        </p:txBody>
      </p:sp>
      <p:grpSp>
        <p:nvGrpSpPr>
          <p:cNvPr id="139" name="Group 13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165383D-5DD1-E481-6C64-D36B46F66591}"/>
              </a:ext>
            </a:extLst>
          </p:cNvPr>
          <p:cNvGrpSpPr/>
          <p:nvPr/>
        </p:nvGrpSpPr>
        <p:grpSpPr>
          <a:xfrm>
            <a:off x="3836584" y="3497572"/>
            <a:ext cx="460236" cy="449016"/>
            <a:chOff x="-11154" y="3919244"/>
            <a:chExt cx="641496" cy="542926"/>
          </a:xfrm>
        </p:grpSpPr>
        <p:sp>
          <p:nvSpPr>
            <p:cNvPr id="140" name="Love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D0C9928-9ECB-9910-46B7-8422E7360733}"/>
                </a:ext>
              </a:extLst>
            </p:cNvPr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-11154" y="3919244"/>
              <a:ext cx="641496" cy="542925"/>
            </a:xfrm>
            <a:custGeom>
              <a:avLst/>
              <a:gdLst>
                <a:gd name="T0" fmla="*/ 1663 w 3600"/>
                <a:gd name="T1" fmla="*/ 563 h 3038"/>
                <a:gd name="T2" fmla="*/ 2488 w 3600"/>
                <a:gd name="T3" fmla="*/ 0 h 3038"/>
                <a:gd name="T4" fmla="*/ 3063 w 3600"/>
                <a:gd name="T5" fmla="*/ 1525 h 3038"/>
                <a:gd name="T6" fmla="*/ 1888 w 3600"/>
                <a:gd name="T7" fmla="*/ 2825 h 3038"/>
                <a:gd name="T8" fmla="*/ 1663 w 3600"/>
                <a:gd name="T9" fmla="*/ 3038 h 3038"/>
                <a:gd name="T10" fmla="*/ 0 w 3600"/>
                <a:gd name="T11" fmla="*/ 763 h 3038"/>
                <a:gd name="T12" fmla="*/ 825 w 3600"/>
                <a:gd name="T13" fmla="*/ 0 h 3038"/>
                <a:gd name="T14" fmla="*/ 1663 w 3600"/>
                <a:gd name="T15" fmla="*/ 563 h 3038"/>
                <a:gd name="T16" fmla="*/ 638 w 3600"/>
                <a:gd name="T17" fmla="*/ 1750 h 3038"/>
                <a:gd name="T18" fmla="*/ 950 w 3600"/>
                <a:gd name="T19" fmla="*/ 250 h 3038"/>
                <a:gd name="T20" fmla="*/ 638 w 3600"/>
                <a:gd name="T21" fmla="*/ 1750 h 3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00" h="3038">
                  <a:moveTo>
                    <a:pt x="1663" y="563"/>
                  </a:moveTo>
                  <a:cubicBezTo>
                    <a:pt x="1863" y="188"/>
                    <a:pt x="2075" y="0"/>
                    <a:pt x="2488" y="0"/>
                  </a:cubicBezTo>
                  <a:cubicBezTo>
                    <a:pt x="3175" y="0"/>
                    <a:pt x="3600" y="650"/>
                    <a:pt x="3063" y="1525"/>
                  </a:cubicBezTo>
                  <a:cubicBezTo>
                    <a:pt x="2163" y="1100"/>
                    <a:pt x="1350" y="2025"/>
                    <a:pt x="1888" y="2825"/>
                  </a:cubicBezTo>
                  <a:cubicBezTo>
                    <a:pt x="1813" y="2900"/>
                    <a:pt x="1738" y="2963"/>
                    <a:pt x="1663" y="3038"/>
                  </a:cubicBezTo>
                  <a:cubicBezTo>
                    <a:pt x="825" y="2275"/>
                    <a:pt x="0" y="1513"/>
                    <a:pt x="0" y="763"/>
                  </a:cubicBezTo>
                  <a:cubicBezTo>
                    <a:pt x="0" y="338"/>
                    <a:pt x="375" y="0"/>
                    <a:pt x="825" y="0"/>
                  </a:cubicBezTo>
                  <a:cubicBezTo>
                    <a:pt x="1250" y="0"/>
                    <a:pt x="1450" y="188"/>
                    <a:pt x="1663" y="563"/>
                  </a:cubicBezTo>
                  <a:close/>
                  <a:moveTo>
                    <a:pt x="638" y="1750"/>
                  </a:moveTo>
                  <a:cubicBezTo>
                    <a:pt x="213" y="1213"/>
                    <a:pt x="13" y="275"/>
                    <a:pt x="950" y="250"/>
                  </a:cubicBezTo>
                  <a:cubicBezTo>
                    <a:pt x="313" y="450"/>
                    <a:pt x="400" y="1250"/>
                    <a:pt x="638" y="1750"/>
                  </a:cubicBezTo>
                  <a:close/>
                </a:path>
              </a:pathLst>
            </a:custGeom>
            <a:solidFill>
              <a:srgbClr val="42BA97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8753" tIns="49377" rIns="98753" bIns="49377" numCol="1" anchor="t" anchorCtr="0" compatLnSpc="1">
              <a:prstTxWarp prst="textNoShape">
                <a:avLst/>
              </a:prstTxWarp>
            </a:bodyPr>
            <a:lstStyle/>
            <a:p>
              <a:pPr defTabSz="987552">
                <a:defRPr/>
              </a:pPr>
              <a:endParaRPr lang="en-US" sz="1944" kern="0" dirty="0">
                <a:solidFill>
                  <a:prstClr val="black"/>
                </a:solidFill>
              </a:endParaRPr>
            </a:p>
          </p:txBody>
        </p:sp>
        <p:sp>
          <p:nvSpPr>
            <p:cNvPr id="141" name="Oval 14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F189CF0-1C03-DAC1-593F-293AEB4989A2}"/>
                </a:ext>
              </a:extLst>
            </p:cNvPr>
            <p:cNvSpPr/>
            <p:nvPr/>
          </p:nvSpPr>
          <p:spPr>
            <a:xfrm>
              <a:off x="334904" y="4213350"/>
              <a:ext cx="248820" cy="248820"/>
            </a:xfrm>
            <a:prstGeom prst="ellipse">
              <a:avLst/>
            </a:prstGeom>
            <a:solidFill>
              <a:srgbClr val="42BA9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87552">
                <a:defRPr/>
              </a:pPr>
              <a:endParaRPr lang="en-US" sz="1944" kern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42" name="Freeform 24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44F3E8D5-2E53-0282-CE6F-92D74F86B8F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537" y="4267958"/>
              <a:ext cx="165787" cy="142893"/>
            </a:xfrm>
            <a:custGeom>
              <a:avLst/>
              <a:gdLst>
                <a:gd name="T0" fmla="*/ 407 w 445"/>
                <a:gd name="T1" fmla="*/ 0 h 383"/>
                <a:gd name="T2" fmla="*/ 389 w 445"/>
                <a:gd name="T3" fmla="*/ 5 h 383"/>
                <a:gd name="T4" fmla="*/ 134 w 445"/>
                <a:gd name="T5" fmla="*/ 287 h 383"/>
                <a:gd name="T6" fmla="*/ 64 w 445"/>
                <a:gd name="T7" fmla="*/ 196 h 383"/>
                <a:gd name="T8" fmla="*/ 38 w 445"/>
                <a:gd name="T9" fmla="*/ 183 h 383"/>
                <a:gd name="T10" fmla="*/ 18 w 445"/>
                <a:gd name="T11" fmla="*/ 190 h 383"/>
                <a:gd name="T12" fmla="*/ 11 w 445"/>
                <a:gd name="T13" fmla="*/ 237 h 383"/>
                <a:gd name="T14" fmla="*/ 113 w 445"/>
                <a:gd name="T15" fmla="*/ 370 h 383"/>
                <a:gd name="T16" fmla="*/ 140 w 445"/>
                <a:gd name="T17" fmla="*/ 383 h 383"/>
                <a:gd name="T18" fmla="*/ 144 w 445"/>
                <a:gd name="T19" fmla="*/ 383 h 383"/>
                <a:gd name="T20" fmla="*/ 170 w 445"/>
                <a:gd name="T21" fmla="*/ 363 h 383"/>
                <a:gd name="T22" fmla="*/ 425 w 445"/>
                <a:gd name="T23" fmla="*/ 61 h 383"/>
                <a:gd name="T24" fmla="*/ 435 w 445"/>
                <a:gd name="T25" fmla="*/ 15 h 383"/>
                <a:gd name="T26" fmla="*/ 407 w 445"/>
                <a:gd name="T27" fmla="*/ 0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5" h="383">
                  <a:moveTo>
                    <a:pt x="407" y="0"/>
                  </a:moveTo>
                  <a:cubicBezTo>
                    <a:pt x="401" y="0"/>
                    <a:pt x="395" y="1"/>
                    <a:pt x="389" y="5"/>
                  </a:cubicBezTo>
                  <a:cubicBezTo>
                    <a:pt x="256" y="91"/>
                    <a:pt x="173" y="218"/>
                    <a:pt x="134" y="287"/>
                  </a:cubicBezTo>
                  <a:lnTo>
                    <a:pt x="64" y="196"/>
                  </a:lnTo>
                  <a:cubicBezTo>
                    <a:pt x="58" y="188"/>
                    <a:pt x="48" y="183"/>
                    <a:pt x="38" y="183"/>
                  </a:cubicBezTo>
                  <a:cubicBezTo>
                    <a:pt x="31" y="183"/>
                    <a:pt x="24" y="185"/>
                    <a:pt x="18" y="190"/>
                  </a:cubicBezTo>
                  <a:cubicBezTo>
                    <a:pt x="3" y="201"/>
                    <a:pt x="0" y="222"/>
                    <a:pt x="11" y="237"/>
                  </a:cubicBezTo>
                  <a:lnTo>
                    <a:pt x="113" y="370"/>
                  </a:lnTo>
                  <a:cubicBezTo>
                    <a:pt x="120" y="378"/>
                    <a:pt x="130" y="383"/>
                    <a:pt x="140" y="383"/>
                  </a:cubicBezTo>
                  <a:cubicBezTo>
                    <a:pt x="141" y="383"/>
                    <a:pt x="143" y="383"/>
                    <a:pt x="144" y="383"/>
                  </a:cubicBezTo>
                  <a:cubicBezTo>
                    <a:pt x="156" y="381"/>
                    <a:pt x="166" y="374"/>
                    <a:pt x="170" y="363"/>
                  </a:cubicBezTo>
                  <a:cubicBezTo>
                    <a:pt x="171" y="361"/>
                    <a:pt x="255" y="171"/>
                    <a:pt x="425" y="61"/>
                  </a:cubicBezTo>
                  <a:cubicBezTo>
                    <a:pt x="441" y="51"/>
                    <a:pt x="445" y="30"/>
                    <a:pt x="435" y="15"/>
                  </a:cubicBezTo>
                  <a:cubicBezTo>
                    <a:pt x="429" y="5"/>
                    <a:pt x="418" y="0"/>
                    <a:pt x="407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8753" tIns="49377" rIns="98753" bIns="49377" numCol="1" anchor="t" anchorCtr="0" compatLnSpc="1">
              <a:prstTxWarp prst="textNoShape">
                <a:avLst/>
              </a:prstTxWarp>
            </a:bodyPr>
            <a:lstStyle/>
            <a:p>
              <a:pPr defTabSz="987552">
                <a:defRPr/>
              </a:pPr>
              <a:endParaRPr lang="en-US" sz="1944" kern="0" dirty="0">
                <a:solidFill>
                  <a:prstClr val="black"/>
                </a:solidFill>
              </a:endParaRPr>
            </a:p>
          </p:txBody>
        </p:sp>
      </p:grpSp>
      <p:sp>
        <p:nvSpPr>
          <p:cNvPr id="143" name="TextBox 14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B74BD8E9-63B8-9309-742E-DDA96D756A03}"/>
              </a:ext>
            </a:extLst>
          </p:cNvPr>
          <p:cNvSpPr txBox="1"/>
          <p:nvPr/>
        </p:nvSpPr>
        <p:spPr>
          <a:xfrm>
            <a:off x="5469816" y="3407235"/>
            <a:ext cx="102816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87552">
              <a:defRPr/>
            </a:pPr>
            <a:r>
              <a:rPr lang="en-US" sz="1500" b="1" kern="0" dirty="0">
                <a:solidFill>
                  <a:srgbClr val="FF0000"/>
                </a:solidFill>
                <a:latin typeface="Proxima Nova"/>
                <a:cs typeface="Proxima Nova"/>
              </a:rPr>
              <a:t>Continual </a:t>
            </a:r>
          </a:p>
          <a:p>
            <a:pPr algn="ctr" defTabSz="987552">
              <a:defRPr/>
            </a:pPr>
            <a:r>
              <a:rPr lang="en-US" sz="1500" b="1" kern="0" dirty="0">
                <a:solidFill>
                  <a:srgbClr val="FF0000"/>
                </a:solidFill>
                <a:latin typeface="Proxima Nova"/>
                <a:cs typeface="Proxima Nova"/>
              </a:rPr>
              <a:t>Learning</a:t>
            </a:r>
          </a:p>
        </p:txBody>
      </p:sp>
      <p:sp>
        <p:nvSpPr>
          <p:cNvPr id="144" name="Arrow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8C8263-F818-E3B8-52E3-25521CFDCF81}"/>
              </a:ext>
            </a:extLst>
          </p:cNvPr>
          <p:cNvSpPr>
            <a:spLocks noChangeAspect="1"/>
          </p:cNvSpPr>
          <p:nvPr/>
        </p:nvSpPr>
        <p:spPr bwMode="auto">
          <a:xfrm rot="17179225">
            <a:off x="5729369" y="2815759"/>
            <a:ext cx="574093" cy="821900"/>
          </a:xfrm>
          <a:custGeom>
            <a:avLst/>
            <a:gdLst>
              <a:gd name="T0" fmla="*/ 989 w 1087"/>
              <a:gd name="T1" fmla="*/ 578 h 1486"/>
              <a:gd name="T2" fmla="*/ 727 w 1087"/>
              <a:gd name="T3" fmla="*/ 280 h 1486"/>
              <a:gd name="T4" fmla="*/ 545 w 1087"/>
              <a:gd name="T5" fmla="*/ 167 h 1486"/>
              <a:gd name="T6" fmla="*/ 522 w 1087"/>
              <a:gd name="T7" fmla="*/ 156 h 1486"/>
              <a:gd name="T8" fmla="*/ 512 w 1087"/>
              <a:gd name="T9" fmla="*/ 151 h 1486"/>
              <a:gd name="T10" fmla="*/ 390 w 1087"/>
              <a:gd name="T11" fmla="*/ 103 h 1486"/>
              <a:gd name="T12" fmla="*/ 360 w 1087"/>
              <a:gd name="T13" fmla="*/ 0 h 1486"/>
              <a:gd name="T14" fmla="*/ 292 w 1087"/>
              <a:gd name="T15" fmla="*/ 376 h 1486"/>
              <a:gd name="T16" fmla="*/ 339 w 1087"/>
              <a:gd name="T17" fmla="*/ 283 h 1486"/>
              <a:gd name="T18" fmla="*/ 446 w 1087"/>
              <a:gd name="T19" fmla="*/ 314 h 1486"/>
              <a:gd name="T20" fmla="*/ 448 w 1087"/>
              <a:gd name="T21" fmla="*/ 315 h 1486"/>
              <a:gd name="T22" fmla="*/ 448 w 1087"/>
              <a:gd name="T23" fmla="*/ 314 h 1486"/>
              <a:gd name="T24" fmla="*/ 460 w 1087"/>
              <a:gd name="T25" fmla="*/ 319 h 1486"/>
              <a:gd name="T26" fmla="*/ 508 w 1087"/>
              <a:gd name="T27" fmla="*/ 338 h 1486"/>
              <a:gd name="T28" fmla="*/ 771 w 1087"/>
              <a:gd name="T29" fmla="*/ 506 h 1486"/>
              <a:gd name="T30" fmla="*/ 970 w 1087"/>
              <a:gd name="T31" fmla="*/ 803 h 1486"/>
              <a:gd name="T32" fmla="*/ 985 w 1087"/>
              <a:gd name="T33" fmla="*/ 1072 h 1486"/>
              <a:gd name="T34" fmla="*/ 973 w 1087"/>
              <a:gd name="T35" fmla="*/ 1114 h 1486"/>
              <a:gd name="T36" fmla="*/ 971 w 1087"/>
              <a:gd name="T37" fmla="*/ 1121 h 1486"/>
              <a:gd name="T38" fmla="*/ 971 w 1087"/>
              <a:gd name="T39" fmla="*/ 1121 h 1486"/>
              <a:gd name="T40" fmla="*/ 965 w 1087"/>
              <a:gd name="T41" fmla="*/ 1135 h 1486"/>
              <a:gd name="T42" fmla="*/ 938 w 1087"/>
              <a:gd name="T43" fmla="*/ 1194 h 1486"/>
              <a:gd name="T44" fmla="*/ 890 w 1087"/>
              <a:gd name="T45" fmla="*/ 1265 h 1486"/>
              <a:gd name="T46" fmla="*/ 739 w 1087"/>
              <a:gd name="T47" fmla="*/ 1391 h 1486"/>
              <a:gd name="T48" fmla="*/ 564 w 1087"/>
              <a:gd name="T49" fmla="*/ 1462 h 1486"/>
              <a:gd name="T50" fmla="*/ 479 w 1087"/>
              <a:gd name="T51" fmla="*/ 1480 h 1486"/>
              <a:gd name="T52" fmla="*/ 427 w 1087"/>
              <a:gd name="T53" fmla="*/ 1486 h 1486"/>
              <a:gd name="T54" fmla="*/ 480 w 1087"/>
              <a:gd name="T55" fmla="*/ 1485 h 1486"/>
              <a:gd name="T56" fmla="*/ 567 w 1087"/>
              <a:gd name="T57" fmla="*/ 1475 h 1486"/>
              <a:gd name="T58" fmla="*/ 754 w 1087"/>
              <a:gd name="T59" fmla="*/ 1418 h 1486"/>
              <a:gd name="T60" fmla="*/ 1014 w 1087"/>
              <a:gd name="T61" fmla="*/ 1183 h 1486"/>
              <a:gd name="T62" fmla="*/ 1030 w 1087"/>
              <a:gd name="T63" fmla="*/ 1152 h 1486"/>
              <a:gd name="T64" fmla="*/ 1034 w 1087"/>
              <a:gd name="T65" fmla="*/ 1145 h 1486"/>
              <a:gd name="T66" fmla="*/ 1046 w 1087"/>
              <a:gd name="T67" fmla="*/ 1116 h 1486"/>
              <a:gd name="T68" fmla="*/ 1078 w 1087"/>
              <a:gd name="T69" fmla="*/ 990 h 1486"/>
              <a:gd name="connsiteX0" fmla="*/ 9807 w 9958"/>
              <a:gd name="connsiteY0" fmla="*/ 5229 h 10000"/>
              <a:gd name="connsiteX1" fmla="*/ 9098 w 9958"/>
              <a:gd name="connsiteY1" fmla="*/ 3890 h 10000"/>
              <a:gd name="connsiteX2" fmla="*/ 7994 w 9958"/>
              <a:gd name="connsiteY2" fmla="*/ 2766 h 10000"/>
              <a:gd name="connsiteX3" fmla="*/ 6688 w 9958"/>
              <a:gd name="connsiteY3" fmla="*/ 1884 h 10000"/>
              <a:gd name="connsiteX4" fmla="*/ 5336 w 9958"/>
              <a:gd name="connsiteY4" fmla="*/ 1252 h 10000"/>
              <a:gd name="connsiteX5" fmla="*/ 5014 w 9958"/>
              <a:gd name="connsiteY5" fmla="*/ 1124 h 10000"/>
              <a:gd name="connsiteX6" fmla="*/ 4867 w 9958"/>
              <a:gd name="connsiteY6" fmla="*/ 1070 h 10000"/>
              <a:gd name="connsiteX7" fmla="*/ 4802 w 9958"/>
              <a:gd name="connsiteY7" fmla="*/ 1050 h 10000"/>
              <a:gd name="connsiteX8" fmla="*/ 4765 w 9958"/>
              <a:gd name="connsiteY8" fmla="*/ 1036 h 10000"/>
              <a:gd name="connsiteX9" fmla="*/ 4710 w 9958"/>
              <a:gd name="connsiteY9" fmla="*/ 1016 h 10000"/>
              <a:gd name="connsiteX10" fmla="*/ 4121 w 9958"/>
              <a:gd name="connsiteY10" fmla="*/ 834 h 10000"/>
              <a:gd name="connsiteX11" fmla="*/ 3588 w 9958"/>
              <a:gd name="connsiteY11" fmla="*/ 693 h 10000"/>
              <a:gd name="connsiteX12" fmla="*/ 3165 w 9958"/>
              <a:gd name="connsiteY12" fmla="*/ 606 h 10000"/>
              <a:gd name="connsiteX13" fmla="*/ 3312 w 9958"/>
              <a:gd name="connsiteY13" fmla="*/ 0 h 10000"/>
              <a:gd name="connsiteX14" fmla="*/ 0 w 9958"/>
              <a:gd name="connsiteY14" fmla="*/ 875 h 10000"/>
              <a:gd name="connsiteX15" fmla="*/ 2686 w 9958"/>
              <a:gd name="connsiteY15" fmla="*/ 2530 h 10000"/>
              <a:gd name="connsiteX16" fmla="*/ 2852 w 9958"/>
              <a:gd name="connsiteY16" fmla="*/ 1864 h 10000"/>
              <a:gd name="connsiteX17" fmla="*/ 3119 w 9958"/>
              <a:gd name="connsiteY17" fmla="*/ 1904 h 10000"/>
              <a:gd name="connsiteX18" fmla="*/ 3579 w 9958"/>
              <a:gd name="connsiteY18" fmla="*/ 1992 h 10000"/>
              <a:gd name="connsiteX19" fmla="*/ 4103 w 9958"/>
              <a:gd name="connsiteY19" fmla="*/ 2113 h 10000"/>
              <a:gd name="connsiteX20" fmla="*/ 4112 w 9958"/>
              <a:gd name="connsiteY20" fmla="*/ 2113 h 10000"/>
              <a:gd name="connsiteX21" fmla="*/ 4121 w 9958"/>
              <a:gd name="connsiteY21" fmla="*/ 2120 h 10000"/>
              <a:gd name="connsiteX22" fmla="*/ 4112 w 9958"/>
              <a:gd name="connsiteY22" fmla="*/ 2113 h 10000"/>
              <a:gd name="connsiteX23" fmla="*/ 4121 w 9958"/>
              <a:gd name="connsiteY23" fmla="*/ 2113 h 10000"/>
              <a:gd name="connsiteX24" fmla="*/ 4158 w 9958"/>
              <a:gd name="connsiteY24" fmla="*/ 2127 h 10000"/>
              <a:gd name="connsiteX25" fmla="*/ 4232 w 9958"/>
              <a:gd name="connsiteY25" fmla="*/ 2147 h 10000"/>
              <a:gd name="connsiteX26" fmla="*/ 4388 w 9958"/>
              <a:gd name="connsiteY26" fmla="*/ 2187 h 10000"/>
              <a:gd name="connsiteX27" fmla="*/ 4673 w 9958"/>
              <a:gd name="connsiteY27" fmla="*/ 2275 h 10000"/>
              <a:gd name="connsiteX28" fmla="*/ 5879 w 9958"/>
              <a:gd name="connsiteY28" fmla="*/ 2732 h 10000"/>
              <a:gd name="connsiteX29" fmla="*/ 7093 w 9958"/>
              <a:gd name="connsiteY29" fmla="*/ 3405 h 10000"/>
              <a:gd name="connsiteX30" fmla="*/ 8169 w 9958"/>
              <a:gd name="connsiteY30" fmla="*/ 4307 h 10000"/>
              <a:gd name="connsiteX31" fmla="*/ 8924 w 9958"/>
              <a:gd name="connsiteY31" fmla="*/ 5404 h 10000"/>
              <a:gd name="connsiteX32" fmla="*/ 9172 w 9958"/>
              <a:gd name="connsiteY32" fmla="*/ 6615 h 10000"/>
              <a:gd name="connsiteX33" fmla="*/ 9062 w 9958"/>
              <a:gd name="connsiteY33" fmla="*/ 7214 h 10000"/>
              <a:gd name="connsiteX34" fmla="*/ 9016 w 9958"/>
              <a:gd name="connsiteY34" fmla="*/ 7355 h 10000"/>
              <a:gd name="connsiteX35" fmla="*/ 8951 w 9958"/>
              <a:gd name="connsiteY35" fmla="*/ 7497 h 10000"/>
              <a:gd name="connsiteX36" fmla="*/ 8933 w 9958"/>
              <a:gd name="connsiteY36" fmla="*/ 7537 h 10000"/>
              <a:gd name="connsiteX37" fmla="*/ 8933 w 9958"/>
              <a:gd name="connsiteY37" fmla="*/ 7544 h 10000"/>
              <a:gd name="connsiteX38" fmla="*/ 8933 w 9958"/>
              <a:gd name="connsiteY38" fmla="*/ 7550 h 10000"/>
              <a:gd name="connsiteX39" fmla="*/ 8933 w 9958"/>
              <a:gd name="connsiteY39" fmla="*/ 7544 h 10000"/>
              <a:gd name="connsiteX40" fmla="*/ 8924 w 9958"/>
              <a:gd name="connsiteY40" fmla="*/ 7564 h 10000"/>
              <a:gd name="connsiteX41" fmla="*/ 8878 w 9958"/>
              <a:gd name="connsiteY41" fmla="*/ 7638 h 10000"/>
              <a:gd name="connsiteX42" fmla="*/ 8804 w 9958"/>
              <a:gd name="connsiteY42" fmla="*/ 7779 h 10000"/>
              <a:gd name="connsiteX43" fmla="*/ 8629 w 9958"/>
              <a:gd name="connsiteY43" fmla="*/ 8035 h 10000"/>
              <a:gd name="connsiteX44" fmla="*/ 8418 w 9958"/>
              <a:gd name="connsiteY44" fmla="*/ 8284 h 10000"/>
              <a:gd name="connsiteX45" fmla="*/ 8188 w 9958"/>
              <a:gd name="connsiteY45" fmla="*/ 8513 h 10000"/>
              <a:gd name="connsiteX46" fmla="*/ 7930 w 9958"/>
              <a:gd name="connsiteY46" fmla="*/ 8715 h 10000"/>
              <a:gd name="connsiteX47" fmla="*/ 6799 w 9958"/>
              <a:gd name="connsiteY47" fmla="*/ 9361 h 10000"/>
              <a:gd name="connsiteX48" fmla="*/ 5685 w 9958"/>
              <a:gd name="connsiteY48" fmla="*/ 9731 h 10000"/>
              <a:gd name="connsiteX49" fmla="*/ 5189 w 9958"/>
              <a:gd name="connsiteY49" fmla="*/ 9838 h 10000"/>
              <a:gd name="connsiteX50" fmla="*/ 4756 w 9958"/>
              <a:gd name="connsiteY50" fmla="*/ 9913 h 10000"/>
              <a:gd name="connsiteX51" fmla="*/ 4407 w 9958"/>
              <a:gd name="connsiteY51" fmla="*/ 9960 h 10000"/>
              <a:gd name="connsiteX52" fmla="*/ 4149 w 9958"/>
              <a:gd name="connsiteY52" fmla="*/ 9980 h 10000"/>
              <a:gd name="connsiteX53" fmla="*/ 3928 w 9958"/>
              <a:gd name="connsiteY53" fmla="*/ 10000 h 10000"/>
              <a:gd name="connsiteX54" fmla="*/ 4149 w 9958"/>
              <a:gd name="connsiteY54" fmla="*/ 10000 h 10000"/>
              <a:gd name="connsiteX55" fmla="*/ 4416 w 9958"/>
              <a:gd name="connsiteY55" fmla="*/ 9993 h 10000"/>
              <a:gd name="connsiteX56" fmla="*/ 5216 w 9958"/>
              <a:gd name="connsiteY56" fmla="*/ 9926 h 10000"/>
              <a:gd name="connsiteX57" fmla="*/ 5731 w 9958"/>
              <a:gd name="connsiteY57" fmla="*/ 9845 h 10000"/>
              <a:gd name="connsiteX58" fmla="*/ 6937 w 9958"/>
              <a:gd name="connsiteY58" fmla="*/ 9542 h 10000"/>
              <a:gd name="connsiteX59" fmla="*/ 8224 w 9958"/>
              <a:gd name="connsiteY59" fmla="*/ 8943 h 10000"/>
              <a:gd name="connsiteX60" fmla="*/ 9328 w 9958"/>
              <a:gd name="connsiteY60" fmla="*/ 7961 h 10000"/>
              <a:gd name="connsiteX61" fmla="*/ 9430 w 9958"/>
              <a:gd name="connsiteY61" fmla="*/ 7820 h 10000"/>
              <a:gd name="connsiteX62" fmla="*/ 9476 w 9958"/>
              <a:gd name="connsiteY62" fmla="*/ 7752 h 10000"/>
              <a:gd name="connsiteX63" fmla="*/ 9494 w 9958"/>
              <a:gd name="connsiteY63" fmla="*/ 7732 h 10000"/>
              <a:gd name="connsiteX64" fmla="*/ 9512 w 9958"/>
              <a:gd name="connsiteY64" fmla="*/ 7705 h 10000"/>
              <a:gd name="connsiteX65" fmla="*/ 9531 w 9958"/>
              <a:gd name="connsiteY65" fmla="*/ 7665 h 10000"/>
              <a:gd name="connsiteX66" fmla="*/ 9623 w 9958"/>
              <a:gd name="connsiteY66" fmla="*/ 7510 h 10000"/>
              <a:gd name="connsiteX67" fmla="*/ 9696 w 9958"/>
              <a:gd name="connsiteY67" fmla="*/ 7342 h 10000"/>
              <a:gd name="connsiteX68" fmla="*/ 9917 w 9958"/>
              <a:gd name="connsiteY68" fmla="*/ 6662 h 10000"/>
              <a:gd name="connsiteX69" fmla="*/ 9807 w 9958"/>
              <a:gd name="connsiteY69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4435 w 10000"/>
              <a:gd name="connsiteY55" fmla="*/ 9993 h 10000"/>
              <a:gd name="connsiteX56" fmla="*/ 5755 w 10000"/>
              <a:gd name="connsiteY56" fmla="*/ 9845 h 10000"/>
              <a:gd name="connsiteX57" fmla="*/ 6966 w 10000"/>
              <a:gd name="connsiteY57" fmla="*/ 9542 h 10000"/>
              <a:gd name="connsiteX58" fmla="*/ 8259 w 10000"/>
              <a:gd name="connsiteY58" fmla="*/ 8943 h 10000"/>
              <a:gd name="connsiteX59" fmla="*/ 9367 w 10000"/>
              <a:gd name="connsiteY59" fmla="*/ 7961 h 10000"/>
              <a:gd name="connsiteX60" fmla="*/ 9470 w 10000"/>
              <a:gd name="connsiteY60" fmla="*/ 7820 h 10000"/>
              <a:gd name="connsiteX61" fmla="*/ 9516 w 10000"/>
              <a:gd name="connsiteY61" fmla="*/ 7752 h 10000"/>
              <a:gd name="connsiteX62" fmla="*/ 9534 w 10000"/>
              <a:gd name="connsiteY62" fmla="*/ 7732 h 10000"/>
              <a:gd name="connsiteX63" fmla="*/ 9552 w 10000"/>
              <a:gd name="connsiteY63" fmla="*/ 7705 h 10000"/>
              <a:gd name="connsiteX64" fmla="*/ 9571 w 10000"/>
              <a:gd name="connsiteY64" fmla="*/ 7665 h 10000"/>
              <a:gd name="connsiteX65" fmla="*/ 9664 w 10000"/>
              <a:gd name="connsiteY65" fmla="*/ 7510 h 10000"/>
              <a:gd name="connsiteX66" fmla="*/ 9737 w 10000"/>
              <a:gd name="connsiteY66" fmla="*/ 7342 h 10000"/>
              <a:gd name="connsiteX67" fmla="*/ 9959 w 10000"/>
              <a:gd name="connsiteY67" fmla="*/ 6662 h 10000"/>
              <a:gd name="connsiteX68" fmla="*/ 9848 w 10000"/>
              <a:gd name="connsiteY68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5755 w 10000"/>
              <a:gd name="connsiteY55" fmla="*/ 9845 h 10000"/>
              <a:gd name="connsiteX56" fmla="*/ 6966 w 10000"/>
              <a:gd name="connsiteY56" fmla="*/ 9542 h 10000"/>
              <a:gd name="connsiteX57" fmla="*/ 8259 w 10000"/>
              <a:gd name="connsiteY57" fmla="*/ 8943 h 10000"/>
              <a:gd name="connsiteX58" fmla="*/ 9367 w 10000"/>
              <a:gd name="connsiteY58" fmla="*/ 7961 h 10000"/>
              <a:gd name="connsiteX59" fmla="*/ 9470 w 10000"/>
              <a:gd name="connsiteY59" fmla="*/ 7820 h 10000"/>
              <a:gd name="connsiteX60" fmla="*/ 9516 w 10000"/>
              <a:gd name="connsiteY60" fmla="*/ 7752 h 10000"/>
              <a:gd name="connsiteX61" fmla="*/ 9534 w 10000"/>
              <a:gd name="connsiteY61" fmla="*/ 7732 h 10000"/>
              <a:gd name="connsiteX62" fmla="*/ 9552 w 10000"/>
              <a:gd name="connsiteY62" fmla="*/ 7705 h 10000"/>
              <a:gd name="connsiteX63" fmla="*/ 9571 w 10000"/>
              <a:gd name="connsiteY63" fmla="*/ 7665 h 10000"/>
              <a:gd name="connsiteX64" fmla="*/ 9664 w 10000"/>
              <a:gd name="connsiteY64" fmla="*/ 7510 h 10000"/>
              <a:gd name="connsiteX65" fmla="*/ 9737 w 10000"/>
              <a:gd name="connsiteY65" fmla="*/ 7342 h 10000"/>
              <a:gd name="connsiteX66" fmla="*/ 9959 w 10000"/>
              <a:gd name="connsiteY66" fmla="*/ 6662 h 10000"/>
              <a:gd name="connsiteX67" fmla="*/ 9848 w 10000"/>
              <a:gd name="connsiteY67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6966 w 10000"/>
              <a:gd name="connsiteY55" fmla="*/ 9542 h 10000"/>
              <a:gd name="connsiteX56" fmla="*/ 8259 w 10000"/>
              <a:gd name="connsiteY56" fmla="*/ 8943 h 10000"/>
              <a:gd name="connsiteX57" fmla="*/ 9367 w 10000"/>
              <a:gd name="connsiteY57" fmla="*/ 7961 h 10000"/>
              <a:gd name="connsiteX58" fmla="*/ 9470 w 10000"/>
              <a:gd name="connsiteY58" fmla="*/ 7820 h 10000"/>
              <a:gd name="connsiteX59" fmla="*/ 9516 w 10000"/>
              <a:gd name="connsiteY59" fmla="*/ 7752 h 10000"/>
              <a:gd name="connsiteX60" fmla="*/ 9534 w 10000"/>
              <a:gd name="connsiteY60" fmla="*/ 7732 h 10000"/>
              <a:gd name="connsiteX61" fmla="*/ 9552 w 10000"/>
              <a:gd name="connsiteY61" fmla="*/ 7705 h 10000"/>
              <a:gd name="connsiteX62" fmla="*/ 9571 w 10000"/>
              <a:gd name="connsiteY62" fmla="*/ 7665 h 10000"/>
              <a:gd name="connsiteX63" fmla="*/ 9664 w 10000"/>
              <a:gd name="connsiteY63" fmla="*/ 7510 h 10000"/>
              <a:gd name="connsiteX64" fmla="*/ 9737 w 10000"/>
              <a:gd name="connsiteY64" fmla="*/ 7342 h 10000"/>
              <a:gd name="connsiteX65" fmla="*/ 9959 w 10000"/>
              <a:gd name="connsiteY65" fmla="*/ 6662 h 10000"/>
              <a:gd name="connsiteX66" fmla="*/ 9848 w 10000"/>
              <a:gd name="connsiteY66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6966 w 10000"/>
              <a:gd name="connsiteY54" fmla="*/ 9542 h 10000"/>
              <a:gd name="connsiteX55" fmla="*/ 8259 w 10000"/>
              <a:gd name="connsiteY55" fmla="*/ 8943 h 10000"/>
              <a:gd name="connsiteX56" fmla="*/ 9367 w 10000"/>
              <a:gd name="connsiteY56" fmla="*/ 7961 h 10000"/>
              <a:gd name="connsiteX57" fmla="*/ 9470 w 10000"/>
              <a:gd name="connsiteY57" fmla="*/ 7820 h 10000"/>
              <a:gd name="connsiteX58" fmla="*/ 9516 w 10000"/>
              <a:gd name="connsiteY58" fmla="*/ 7752 h 10000"/>
              <a:gd name="connsiteX59" fmla="*/ 9534 w 10000"/>
              <a:gd name="connsiteY59" fmla="*/ 7732 h 10000"/>
              <a:gd name="connsiteX60" fmla="*/ 9552 w 10000"/>
              <a:gd name="connsiteY60" fmla="*/ 7705 h 10000"/>
              <a:gd name="connsiteX61" fmla="*/ 9571 w 10000"/>
              <a:gd name="connsiteY61" fmla="*/ 7665 h 10000"/>
              <a:gd name="connsiteX62" fmla="*/ 9664 w 10000"/>
              <a:gd name="connsiteY62" fmla="*/ 7510 h 10000"/>
              <a:gd name="connsiteX63" fmla="*/ 9737 w 10000"/>
              <a:gd name="connsiteY63" fmla="*/ 7342 h 10000"/>
              <a:gd name="connsiteX64" fmla="*/ 9959 w 10000"/>
              <a:gd name="connsiteY64" fmla="*/ 6662 h 10000"/>
              <a:gd name="connsiteX65" fmla="*/ 9848 w 10000"/>
              <a:gd name="connsiteY65" fmla="*/ 5229 h 10000"/>
              <a:gd name="connsiteX0" fmla="*/ 9848 w 10000"/>
              <a:gd name="connsiteY0" fmla="*/ 5229 h 9980"/>
              <a:gd name="connsiteX1" fmla="*/ 9136 w 10000"/>
              <a:gd name="connsiteY1" fmla="*/ 3890 h 9980"/>
              <a:gd name="connsiteX2" fmla="*/ 8028 w 10000"/>
              <a:gd name="connsiteY2" fmla="*/ 2766 h 9980"/>
              <a:gd name="connsiteX3" fmla="*/ 6716 w 10000"/>
              <a:gd name="connsiteY3" fmla="*/ 1884 h 9980"/>
              <a:gd name="connsiteX4" fmla="*/ 5359 w 10000"/>
              <a:gd name="connsiteY4" fmla="*/ 1252 h 9980"/>
              <a:gd name="connsiteX5" fmla="*/ 5035 w 10000"/>
              <a:gd name="connsiteY5" fmla="*/ 1124 h 9980"/>
              <a:gd name="connsiteX6" fmla="*/ 4888 w 10000"/>
              <a:gd name="connsiteY6" fmla="*/ 1070 h 9980"/>
              <a:gd name="connsiteX7" fmla="*/ 4822 w 10000"/>
              <a:gd name="connsiteY7" fmla="*/ 1050 h 9980"/>
              <a:gd name="connsiteX8" fmla="*/ 4785 w 10000"/>
              <a:gd name="connsiteY8" fmla="*/ 1036 h 9980"/>
              <a:gd name="connsiteX9" fmla="*/ 4730 w 10000"/>
              <a:gd name="connsiteY9" fmla="*/ 1016 h 9980"/>
              <a:gd name="connsiteX10" fmla="*/ 4138 w 10000"/>
              <a:gd name="connsiteY10" fmla="*/ 834 h 9980"/>
              <a:gd name="connsiteX11" fmla="*/ 3603 w 10000"/>
              <a:gd name="connsiteY11" fmla="*/ 693 h 9980"/>
              <a:gd name="connsiteX12" fmla="*/ 3178 w 10000"/>
              <a:gd name="connsiteY12" fmla="*/ 606 h 9980"/>
              <a:gd name="connsiteX13" fmla="*/ 3326 w 10000"/>
              <a:gd name="connsiteY13" fmla="*/ 0 h 9980"/>
              <a:gd name="connsiteX14" fmla="*/ 0 w 10000"/>
              <a:gd name="connsiteY14" fmla="*/ 875 h 9980"/>
              <a:gd name="connsiteX15" fmla="*/ 2697 w 10000"/>
              <a:gd name="connsiteY15" fmla="*/ 2530 h 9980"/>
              <a:gd name="connsiteX16" fmla="*/ 2864 w 10000"/>
              <a:gd name="connsiteY16" fmla="*/ 1864 h 9980"/>
              <a:gd name="connsiteX17" fmla="*/ 3132 w 10000"/>
              <a:gd name="connsiteY17" fmla="*/ 1904 h 9980"/>
              <a:gd name="connsiteX18" fmla="*/ 3594 w 10000"/>
              <a:gd name="connsiteY18" fmla="*/ 1992 h 9980"/>
              <a:gd name="connsiteX19" fmla="*/ 4120 w 10000"/>
              <a:gd name="connsiteY19" fmla="*/ 2113 h 9980"/>
              <a:gd name="connsiteX20" fmla="*/ 4129 w 10000"/>
              <a:gd name="connsiteY20" fmla="*/ 2113 h 9980"/>
              <a:gd name="connsiteX21" fmla="*/ 4138 w 10000"/>
              <a:gd name="connsiteY21" fmla="*/ 2120 h 9980"/>
              <a:gd name="connsiteX22" fmla="*/ 4129 w 10000"/>
              <a:gd name="connsiteY22" fmla="*/ 2113 h 9980"/>
              <a:gd name="connsiteX23" fmla="*/ 4138 w 10000"/>
              <a:gd name="connsiteY23" fmla="*/ 2113 h 9980"/>
              <a:gd name="connsiteX24" fmla="*/ 4176 w 10000"/>
              <a:gd name="connsiteY24" fmla="*/ 2127 h 9980"/>
              <a:gd name="connsiteX25" fmla="*/ 4250 w 10000"/>
              <a:gd name="connsiteY25" fmla="*/ 2147 h 9980"/>
              <a:gd name="connsiteX26" fmla="*/ 4407 w 10000"/>
              <a:gd name="connsiteY26" fmla="*/ 2187 h 9980"/>
              <a:gd name="connsiteX27" fmla="*/ 4693 w 10000"/>
              <a:gd name="connsiteY27" fmla="*/ 2275 h 9980"/>
              <a:gd name="connsiteX28" fmla="*/ 5904 w 10000"/>
              <a:gd name="connsiteY28" fmla="*/ 2732 h 9980"/>
              <a:gd name="connsiteX29" fmla="*/ 7123 w 10000"/>
              <a:gd name="connsiteY29" fmla="*/ 3405 h 9980"/>
              <a:gd name="connsiteX30" fmla="*/ 8203 w 10000"/>
              <a:gd name="connsiteY30" fmla="*/ 4307 h 9980"/>
              <a:gd name="connsiteX31" fmla="*/ 8962 w 10000"/>
              <a:gd name="connsiteY31" fmla="*/ 5404 h 9980"/>
              <a:gd name="connsiteX32" fmla="*/ 9211 w 10000"/>
              <a:gd name="connsiteY32" fmla="*/ 6615 h 9980"/>
              <a:gd name="connsiteX33" fmla="*/ 9100 w 10000"/>
              <a:gd name="connsiteY33" fmla="*/ 7214 h 9980"/>
              <a:gd name="connsiteX34" fmla="*/ 9054 w 10000"/>
              <a:gd name="connsiteY34" fmla="*/ 7355 h 9980"/>
              <a:gd name="connsiteX35" fmla="*/ 8989 w 10000"/>
              <a:gd name="connsiteY35" fmla="*/ 7497 h 9980"/>
              <a:gd name="connsiteX36" fmla="*/ 8971 w 10000"/>
              <a:gd name="connsiteY36" fmla="*/ 7537 h 9980"/>
              <a:gd name="connsiteX37" fmla="*/ 8971 w 10000"/>
              <a:gd name="connsiteY37" fmla="*/ 7544 h 9980"/>
              <a:gd name="connsiteX38" fmla="*/ 8971 w 10000"/>
              <a:gd name="connsiteY38" fmla="*/ 7550 h 9980"/>
              <a:gd name="connsiteX39" fmla="*/ 8971 w 10000"/>
              <a:gd name="connsiteY39" fmla="*/ 7544 h 9980"/>
              <a:gd name="connsiteX40" fmla="*/ 8962 w 10000"/>
              <a:gd name="connsiteY40" fmla="*/ 7564 h 9980"/>
              <a:gd name="connsiteX41" fmla="*/ 8915 w 10000"/>
              <a:gd name="connsiteY41" fmla="*/ 7638 h 9980"/>
              <a:gd name="connsiteX42" fmla="*/ 8841 w 10000"/>
              <a:gd name="connsiteY42" fmla="*/ 7779 h 9980"/>
              <a:gd name="connsiteX43" fmla="*/ 8665 w 10000"/>
              <a:gd name="connsiteY43" fmla="*/ 8035 h 9980"/>
              <a:gd name="connsiteX44" fmla="*/ 8454 w 10000"/>
              <a:gd name="connsiteY44" fmla="*/ 8284 h 9980"/>
              <a:gd name="connsiteX45" fmla="*/ 8223 w 10000"/>
              <a:gd name="connsiteY45" fmla="*/ 8513 h 9980"/>
              <a:gd name="connsiteX46" fmla="*/ 7963 w 10000"/>
              <a:gd name="connsiteY46" fmla="*/ 8715 h 9980"/>
              <a:gd name="connsiteX47" fmla="*/ 6828 w 10000"/>
              <a:gd name="connsiteY47" fmla="*/ 9361 h 9980"/>
              <a:gd name="connsiteX48" fmla="*/ 5709 w 10000"/>
              <a:gd name="connsiteY48" fmla="*/ 9731 h 9980"/>
              <a:gd name="connsiteX49" fmla="*/ 5211 w 10000"/>
              <a:gd name="connsiteY49" fmla="*/ 9838 h 9980"/>
              <a:gd name="connsiteX50" fmla="*/ 4776 w 10000"/>
              <a:gd name="connsiteY50" fmla="*/ 9913 h 9980"/>
              <a:gd name="connsiteX51" fmla="*/ 4426 w 10000"/>
              <a:gd name="connsiteY51" fmla="*/ 9960 h 9980"/>
              <a:gd name="connsiteX52" fmla="*/ 4166 w 10000"/>
              <a:gd name="connsiteY52" fmla="*/ 9980 h 9980"/>
              <a:gd name="connsiteX53" fmla="*/ 6966 w 10000"/>
              <a:gd name="connsiteY53" fmla="*/ 9542 h 9980"/>
              <a:gd name="connsiteX54" fmla="*/ 8259 w 10000"/>
              <a:gd name="connsiteY54" fmla="*/ 8943 h 9980"/>
              <a:gd name="connsiteX55" fmla="*/ 9367 w 10000"/>
              <a:gd name="connsiteY55" fmla="*/ 7961 h 9980"/>
              <a:gd name="connsiteX56" fmla="*/ 9470 w 10000"/>
              <a:gd name="connsiteY56" fmla="*/ 7820 h 9980"/>
              <a:gd name="connsiteX57" fmla="*/ 9516 w 10000"/>
              <a:gd name="connsiteY57" fmla="*/ 7752 h 9980"/>
              <a:gd name="connsiteX58" fmla="*/ 9534 w 10000"/>
              <a:gd name="connsiteY58" fmla="*/ 7732 h 9980"/>
              <a:gd name="connsiteX59" fmla="*/ 9552 w 10000"/>
              <a:gd name="connsiteY59" fmla="*/ 7705 h 9980"/>
              <a:gd name="connsiteX60" fmla="*/ 9571 w 10000"/>
              <a:gd name="connsiteY60" fmla="*/ 7665 h 9980"/>
              <a:gd name="connsiteX61" fmla="*/ 9664 w 10000"/>
              <a:gd name="connsiteY61" fmla="*/ 7510 h 9980"/>
              <a:gd name="connsiteX62" fmla="*/ 9737 w 10000"/>
              <a:gd name="connsiteY62" fmla="*/ 7342 h 9980"/>
              <a:gd name="connsiteX63" fmla="*/ 9959 w 10000"/>
              <a:gd name="connsiteY63" fmla="*/ 6662 h 9980"/>
              <a:gd name="connsiteX64" fmla="*/ 9848 w 10000"/>
              <a:gd name="connsiteY64" fmla="*/ 5229 h 9980"/>
              <a:gd name="connsiteX0" fmla="*/ 9848 w 10000"/>
              <a:gd name="connsiteY0" fmla="*/ 5239 h 10000"/>
              <a:gd name="connsiteX1" fmla="*/ 9136 w 10000"/>
              <a:gd name="connsiteY1" fmla="*/ 3898 h 10000"/>
              <a:gd name="connsiteX2" fmla="*/ 8028 w 10000"/>
              <a:gd name="connsiteY2" fmla="*/ 2772 h 10000"/>
              <a:gd name="connsiteX3" fmla="*/ 6716 w 10000"/>
              <a:gd name="connsiteY3" fmla="*/ 1888 h 10000"/>
              <a:gd name="connsiteX4" fmla="*/ 5359 w 10000"/>
              <a:gd name="connsiteY4" fmla="*/ 1255 h 10000"/>
              <a:gd name="connsiteX5" fmla="*/ 5035 w 10000"/>
              <a:gd name="connsiteY5" fmla="*/ 1126 h 10000"/>
              <a:gd name="connsiteX6" fmla="*/ 4888 w 10000"/>
              <a:gd name="connsiteY6" fmla="*/ 1072 h 10000"/>
              <a:gd name="connsiteX7" fmla="*/ 4822 w 10000"/>
              <a:gd name="connsiteY7" fmla="*/ 1052 h 10000"/>
              <a:gd name="connsiteX8" fmla="*/ 4785 w 10000"/>
              <a:gd name="connsiteY8" fmla="*/ 1038 h 10000"/>
              <a:gd name="connsiteX9" fmla="*/ 4730 w 10000"/>
              <a:gd name="connsiteY9" fmla="*/ 1018 h 10000"/>
              <a:gd name="connsiteX10" fmla="*/ 4138 w 10000"/>
              <a:gd name="connsiteY10" fmla="*/ 836 h 10000"/>
              <a:gd name="connsiteX11" fmla="*/ 3603 w 10000"/>
              <a:gd name="connsiteY11" fmla="*/ 694 h 10000"/>
              <a:gd name="connsiteX12" fmla="*/ 3178 w 10000"/>
              <a:gd name="connsiteY12" fmla="*/ 607 h 10000"/>
              <a:gd name="connsiteX13" fmla="*/ 3326 w 10000"/>
              <a:gd name="connsiteY13" fmla="*/ 0 h 10000"/>
              <a:gd name="connsiteX14" fmla="*/ 0 w 10000"/>
              <a:gd name="connsiteY14" fmla="*/ 877 h 10000"/>
              <a:gd name="connsiteX15" fmla="*/ 2697 w 10000"/>
              <a:gd name="connsiteY15" fmla="*/ 2535 h 10000"/>
              <a:gd name="connsiteX16" fmla="*/ 2864 w 10000"/>
              <a:gd name="connsiteY16" fmla="*/ 1868 h 10000"/>
              <a:gd name="connsiteX17" fmla="*/ 3132 w 10000"/>
              <a:gd name="connsiteY17" fmla="*/ 1908 h 10000"/>
              <a:gd name="connsiteX18" fmla="*/ 3594 w 10000"/>
              <a:gd name="connsiteY18" fmla="*/ 1996 h 10000"/>
              <a:gd name="connsiteX19" fmla="*/ 4120 w 10000"/>
              <a:gd name="connsiteY19" fmla="*/ 2117 h 10000"/>
              <a:gd name="connsiteX20" fmla="*/ 4129 w 10000"/>
              <a:gd name="connsiteY20" fmla="*/ 2117 h 10000"/>
              <a:gd name="connsiteX21" fmla="*/ 4138 w 10000"/>
              <a:gd name="connsiteY21" fmla="*/ 2124 h 10000"/>
              <a:gd name="connsiteX22" fmla="*/ 4129 w 10000"/>
              <a:gd name="connsiteY22" fmla="*/ 2117 h 10000"/>
              <a:gd name="connsiteX23" fmla="*/ 4138 w 10000"/>
              <a:gd name="connsiteY23" fmla="*/ 2117 h 10000"/>
              <a:gd name="connsiteX24" fmla="*/ 4176 w 10000"/>
              <a:gd name="connsiteY24" fmla="*/ 2131 h 10000"/>
              <a:gd name="connsiteX25" fmla="*/ 4250 w 10000"/>
              <a:gd name="connsiteY25" fmla="*/ 2151 h 10000"/>
              <a:gd name="connsiteX26" fmla="*/ 4407 w 10000"/>
              <a:gd name="connsiteY26" fmla="*/ 2191 h 10000"/>
              <a:gd name="connsiteX27" fmla="*/ 4693 w 10000"/>
              <a:gd name="connsiteY27" fmla="*/ 2280 h 10000"/>
              <a:gd name="connsiteX28" fmla="*/ 5904 w 10000"/>
              <a:gd name="connsiteY28" fmla="*/ 2737 h 10000"/>
              <a:gd name="connsiteX29" fmla="*/ 7123 w 10000"/>
              <a:gd name="connsiteY29" fmla="*/ 3412 h 10000"/>
              <a:gd name="connsiteX30" fmla="*/ 8203 w 10000"/>
              <a:gd name="connsiteY30" fmla="*/ 4316 h 10000"/>
              <a:gd name="connsiteX31" fmla="*/ 8962 w 10000"/>
              <a:gd name="connsiteY31" fmla="*/ 5415 h 10000"/>
              <a:gd name="connsiteX32" fmla="*/ 9211 w 10000"/>
              <a:gd name="connsiteY32" fmla="*/ 6628 h 10000"/>
              <a:gd name="connsiteX33" fmla="*/ 9100 w 10000"/>
              <a:gd name="connsiteY33" fmla="*/ 7228 h 10000"/>
              <a:gd name="connsiteX34" fmla="*/ 9054 w 10000"/>
              <a:gd name="connsiteY34" fmla="*/ 7370 h 10000"/>
              <a:gd name="connsiteX35" fmla="*/ 8989 w 10000"/>
              <a:gd name="connsiteY35" fmla="*/ 7512 h 10000"/>
              <a:gd name="connsiteX36" fmla="*/ 8971 w 10000"/>
              <a:gd name="connsiteY36" fmla="*/ 7552 h 10000"/>
              <a:gd name="connsiteX37" fmla="*/ 8971 w 10000"/>
              <a:gd name="connsiteY37" fmla="*/ 7559 h 10000"/>
              <a:gd name="connsiteX38" fmla="*/ 8971 w 10000"/>
              <a:gd name="connsiteY38" fmla="*/ 7565 h 10000"/>
              <a:gd name="connsiteX39" fmla="*/ 8971 w 10000"/>
              <a:gd name="connsiteY39" fmla="*/ 7559 h 10000"/>
              <a:gd name="connsiteX40" fmla="*/ 8962 w 10000"/>
              <a:gd name="connsiteY40" fmla="*/ 7579 h 10000"/>
              <a:gd name="connsiteX41" fmla="*/ 8915 w 10000"/>
              <a:gd name="connsiteY41" fmla="*/ 7653 h 10000"/>
              <a:gd name="connsiteX42" fmla="*/ 8841 w 10000"/>
              <a:gd name="connsiteY42" fmla="*/ 7795 h 10000"/>
              <a:gd name="connsiteX43" fmla="*/ 8665 w 10000"/>
              <a:gd name="connsiteY43" fmla="*/ 8051 h 10000"/>
              <a:gd name="connsiteX44" fmla="*/ 8454 w 10000"/>
              <a:gd name="connsiteY44" fmla="*/ 8301 h 10000"/>
              <a:gd name="connsiteX45" fmla="*/ 8223 w 10000"/>
              <a:gd name="connsiteY45" fmla="*/ 8530 h 10000"/>
              <a:gd name="connsiteX46" fmla="*/ 7963 w 10000"/>
              <a:gd name="connsiteY46" fmla="*/ 8732 h 10000"/>
              <a:gd name="connsiteX47" fmla="*/ 6828 w 10000"/>
              <a:gd name="connsiteY47" fmla="*/ 9380 h 10000"/>
              <a:gd name="connsiteX48" fmla="*/ 5709 w 10000"/>
              <a:gd name="connsiteY48" fmla="*/ 9751 h 10000"/>
              <a:gd name="connsiteX49" fmla="*/ 5211 w 10000"/>
              <a:gd name="connsiteY49" fmla="*/ 9858 h 10000"/>
              <a:gd name="connsiteX50" fmla="*/ 4776 w 10000"/>
              <a:gd name="connsiteY50" fmla="*/ 9933 h 10000"/>
              <a:gd name="connsiteX51" fmla="*/ 4426 w 10000"/>
              <a:gd name="connsiteY51" fmla="*/ 9980 h 10000"/>
              <a:gd name="connsiteX52" fmla="*/ 6966 w 10000"/>
              <a:gd name="connsiteY52" fmla="*/ 9561 h 10000"/>
              <a:gd name="connsiteX53" fmla="*/ 8259 w 10000"/>
              <a:gd name="connsiteY53" fmla="*/ 8961 h 10000"/>
              <a:gd name="connsiteX54" fmla="*/ 9367 w 10000"/>
              <a:gd name="connsiteY54" fmla="*/ 7977 h 10000"/>
              <a:gd name="connsiteX55" fmla="*/ 9470 w 10000"/>
              <a:gd name="connsiteY55" fmla="*/ 7836 h 10000"/>
              <a:gd name="connsiteX56" fmla="*/ 9516 w 10000"/>
              <a:gd name="connsiteY56" fmla="*/ 7768 h 10000"/>
              <a:gd name="connsiteX57" fmla="*/ 9534 w 10000"/>
              <a:gd name="connsiteY57" fmla="*/ 7747 h 10000"/>
              <a:gd name="connsiteX58" fmla="*/ 9552 w 10000"/>
              <a:gd name="connsiteY58" fmla="*/ 7720 h 10000"/>
              <a:gd name="connsiteX59" fmla="*/ 9571 w 10000"/>
              <a:gd name="connsiteY59" fmla="*/ 7680 h 10000"/>
              <a:gd name="connsiteX60" fmla="*/ 9664 w 10000"/>
              <a:gd name="connsiteY60" fmla="*/ 7525 h 10000"/>
              <a:gd name="connsiteX61" fmla="*/ 9737 w 10000"/>
              <a:gd name="connsiteY61" fmla="*/ 7357 h 10000"/>
              <a:gd name="connsiteX62" fmla="*/ 9959 w 10000"/>
              <a:gd name="connsiteY62" fmla="*/ 6675 h 10000"/>
              <a:gd name="connsiteX63" fmla="*/ 9848 w 10000"/>
              <a:gd name="connsiteY63" fmla="*/ 5239 h 10000"/>
              <a:gd name="connsiteX0" fmla="*/ 9848 w 10000"/>
              <a:gd name="connsiteY0" fmla="*/ 5239 h 9933"/>
              <a:gd name="connsiteX1" fmla="*/ 9136 w 10000"/>
              <a:gd name="connsiteY1" fmla="*/ 3898 h 9933"/>
              <a:gd name="connsiteX2" fmla="*/ 8028 w 10000"/>
              <a:gd name="connsiteY2" fmla="*/ 2772 h 9933"/>
              <a:gd name="connsiteX3" fmla="*/ 6716 w 10000"/>
              <a:gd name="connsiteY3" fmla="*/ 1888 h 9933"/>
              <a:gd name="connsiteX4" fmla="*/ 5359 w 10000"/>
              <a:gd name="connsiteY4" fmla="*/ 1255 h 9933"/>
              <a:gd name="connsiteX5" fmla="*/ 5035 w 10000"/>
              <a:gd name="connsiteY5" fmla="*/ 1126 h 9933"/>
              <a:gd name="connsiteX6" fmla="*/ 4888 w 10000"/>
              <a:gd name="connsiteY6" fmla="*/ 1072 h 9933"/>
              <a:gd name="connsiteX7" fmla="*/ 4822 w 10000"/>
              <a:gd name="connsiteY7" fmla="*/ 1052 h 9933"/>
              <a:gd name="connsiteX8" fmla="*/ 4785 w 10000"/>
              <a:gd name="connsiteY8" fmla="*/ 1038 h 9933"/>
              <a:gd name="connsiteX9" fmla="*/ 4730 w 10000"/>
              <a:gd name="connsiteY9" fmla="*/ 1018 h 9933"/>
              <a:gd name="connsiteX10" fmla="*/ 4138 w 10000"/>
              <a:gd name="connsiteY10" fmla="*/ 836 h 9933"/>
              <a:gd name="connsiteX11" fmla="*/ 3603 w 10000"/>
              <a:gd name="connsiteY11" fmla="*/ 694 h 9933"/>
              <a:gd name="connsiteX12" fmla="*/ 3178 w 10000"/>
              <a:gd name="connsiteY12" fmla="*/ 607 h 9933"/>
              <a:gd name="connsiteX13" fmla="*/ 3326 w 10000"/>
              <a:gd name="connsiteY13" fmla="*/ 0 h 9933"/>
              <a:gd name="connsiteX14" fmla="*/ 0 w 10000"/>
              <a:gd name="connsiteY14" fmla="*/ 877 h 9933"/>
              <a:gd name="connsiteX15" fmla="*/ 2697 w 10000"/>
              <a:gd name="connsiteY15" fmla="*/ 2535 h 9933"/>
              <a:gd name="connsiteX16" fmla="*/ 2864 w 10000"/>
              <a:gd name="connsiteY16" fmla="*/ 1868 h 9933"/>
              <a:gd name="connsiteX17" fmla="*/ 3132 w 10000"/>
              <a:gd name="connsiteY17" fmla="*/ 1908 h 9933"/>
              <a:gd name="connsiteX18" fmla="*/ 3594 w 10000"/>
              <a:gd name="connsiteY18" fmla="*/ 1996 h 9933"/>
              <a:gd name="connsiteX19" fmla="*/ 4120 w 10000"/>
              <a:gd name="connsiteY19" fmla="*/ 2117 h 9933"/>
              <a:gd name="connsiteX20" fmla="*/ 4129 w 10000"/>
              <a:gd name="connsiteY20" fmla="*/ 2117 h 9933"/>
              <a:gd name="connsiteX21" fmla="*/ 4138 w 10000"/>
              <a:gd name="connsiteY21" fmla="*/ 2124 h 9933"/>
              <a:gd name="connsiteX22" fmla="*/ 4129 w 10000"/>
              <a:gd name="connsiteY22" fmla="*/ 2117 h 9933"/>
              <a:gd name="connsiteX23" fmla="*/ 4138 w 10000"/>
              <a:gd name="connsiteY23" fmla="*/ 2117 h 9933"/>
              <a:gd name="connsiteX24" fmla="*/ 4176 w 10000"/>
              <a:gd name="connsiteY24" fmla="*/ 2131 h 9933"/>
              <a:gd name="connsiteX25" fmla="*/ 4250 w 10000"/>
              <a:gd name="connsiteY25" fmla="*/ 2151 h 9933"/>
              <a:gd name="connsiteX26" fmla="*/ 4407 w 10000"/>
              <a:gd name="connsiteY26" fmla="*/ 2191 h 9933"/>
              <a:gd name="connsiteX27" fmla="*/ 4693 w 10000"/>
              <a:gd name="connsiteY27" fmla="*/ 2280 h 9933"/>
              <a:gd name="connsiteX28" fmla="*/ 5904 w 10000"/>
              <a:gd name="connsiteY28" fmla="*/ 2737 h 9933"/>
              <a:gd name="connsiteX29" fmla="*/ 7123 w 10000"/>
              <a:gd name="connsiteY29" fmla="*/ 3412 h 9933"/>
              <a:gd name="connsiteX30" fmla="*/ 8203 w 10000"/>
              <a:gd name="connsiteY30" fmla="*/ 4316 h 9933"/>
              <a:gd name="connsiteX31" fmla="*/ 8962 w 10000"/>
              <a:gd name="connsiteY31" fmla="*/ 5415 h 9933"/>
              <a:gd name="connsiteX32" fmla="*/ 9211 w 10000"/>
              <a:gd name="connsiteY32" fmla="*/ 6628 h 9933"/>
              <a:gd name="connsiteX33" fmla="*/ 9100 w 10000"/>
              <a:gd name="connsiteY33" fmla="*/ 7228 h 9933"/>
              <a:gd name="connsiteX34" fmla="*/ 9054 w 10000"/>
              <a:gd name="connsiteY34" fmla="*/ 7370 h 9933"/>
              <a:gd name="connsiteX35" fmla="*/ 8989 w 10000"/>
              <a:gd name="connsiteY35" fmla="*/ 7512 h 9933"/>
              <a:gd name="connsiteX36" fmla="*/ 8971 w 10000"/>
              <a:gd name="connsiteY36" fmla="*/ 7552 h 9933"/>
              <a:gd name="connsiteX37" fmla="*/ 8971 w 10000"/>
              <a:gd name="connsiteY37" fmla="*/ 7559 h 9933"/>
              <a:gd name="connsiteX38" fmla="*/ 8971 w 10000"/>
              <a:gd name="connsiteY38" fmla="*/ 7565 h 9933"/>
              <a:gd name="connsiteX39" fmla="*/ 8971 w 10000"/>
              <a:gd name="connsiteY39" fmla="*/ 7559 h 9933"/>
              <a:gd name="connsiteX40" fmla="*/ 8962 w 10000"/>
              <a:gd name="connsiteY40" fmla="*/ 7579 h 9933"/>
              <a:gd name="connsiteX41" fmla="*/ 8915 w 10000"/>
              <a:gd name="connsiteY41" fmla="*/ 7653 h 9933"/>
              <a:gd name="connsiteX42" fmla="*/ 8841 w 10000"/>
              <a:gd name="connsiteY42" fmla="*/ 7795 h 9933"/>
              <a:gd name="connsiteX43" fmla="*/ 8665 w 10000"/>
              <a:gd name="connsiteY43" fmla="*/ 8051 h 9933"/>
              <a:gd name="connsiteX44" fmla="*/ 8454 w 10000"/>
              <a:gd name="connsiteY44" fmla="*/ 8301 h 9933"/>
              <a:gd name="connsiteX45" fmla="*/ 8223 w 10000"/>
              <a:gd name="connsiteY45" fmla="*/ 8530 h 9933"/>
              <a:gd name="connsiteX46" fmla="*/ 7963 w 10000"/>
              <a:gd name="connsiteY46" fmla="*/ 8732 h 9933"/>
              <a:gd name="connsiteX47" fmla="*/ 6828 w 10000"/>
              <a:gd name="connsiteY47" fmla="*/ 9380 h 9933"/>
              <a:gd name="connsiteX48" fmla="*/ 5709 w 10000"/>
              <a:gd name="connsiteY48" fmla="*/ 9751 h 9933"/>
              <a:gd name="connsiteX49" fmla="*/ 5211 w 10000"/>
              <a:gd name="connsiteY49" fmla="*/ 9858 h 9933"/>
              <a:gd name="connsiteX50" fmla="*/ 4776 w 10000"/>
              <a:gd name="connsiteY50" fmla="*/ 9933 h 9933"/>
              <a:gd name="connsiteX51" fmla="*/ 6966 w 10000"/>
              <a:gd name="connsiteY51" fmla="*/ 9561 h 9933"/>
              <a:gd name="connsiteX52" fmla="*/ 8259 w 10000"/>
              <a:gd name="connsiteY52" fmla="*/ 8961 h 9933"/>
              <a:gd name="connsiteX53" fmla="*/ 9367 w 10000"/>
              <a:gd name="connsiteY53" fmla="*/ 7977 h 9933"/>
              <a:gd name="connsiteX54" fmla="*/ 9470 w 10000"/>
              <a:gd name="connsiteY54" fmla="*/ 7836 h 9933"/>
              <a:gd name="connsiteX55" fmla="*/ 9516 w 10000"/>
              <a:gd name="connsiteY55" fmla="*/ 7768 h 9933"/>
              <a:gd name="connsiteX56" fmla="*/ 9534 w 10000"/>
              <a:gd name="connsiteY56" fmla="*/ 7747 h 9933"/>
              <a:gd name="connsiteX57" fmla="*/ 9552 w 10000"/>
              <a:gd name="connsiteY57" fmla="*/ 7720 h 9933"/>
              <a:gd name="connsiteX58" fmla="*/ 9571 w 10000"/>
              <a:gd name="connsiteY58" fmla="*/ 7680 h 9933"/>
              <a:gd name="connsiteX59" fmla="*/ 9664 w 10000"/>
              <a:gd name="connsiteY59" fmla="*/ 7525 h 9933"/>
              <a:gd name="connsiteX60" fmla="*/ 9737 w 10000"/>
              <a:gd name="connsiteY60" fmla="*/ 7357 h 9933"/>
              <a:gd name="connsiteX61" fmla="*/ 9959 w 10000"/>
              <a:gd name="connsiteY61" fmla="*/ 6675 h 9933"/>
              <a:gd name="connsiteX62" fmla="*/ 9848 w 10000"/>
              <a:gd name="connsiteY62" fmla="*/ 5239 h 9933"/>
              <a:gd name="connsiteX0" fmla="*/ 9848 w 10000"/>
              <a:gd name="connsiteY0" fmla="*/ 5274 h 9924"/>
              <a:gd name="connsiteX1" fmla="*/ 9136 w 10000"/>
              <a:gd name="connsiteY1" fmla="*/ 3924 h 9924"/>
              <a:gd name="connsiteX2" fmla="*/ 8028 w 10000"/>
              <a:gd name="connsiteY2" fmla="*/ 2791 h 9924"/>
              <a:gd name="connsiteX3" fmla="*/ 6716 w 10000"/>
              <a:gd name="connsiteY3" fmla="*/ 1901 h 9924"/>
              <a:gd name="connsiteX4" fmla="*/ 5359 w 10000"/>
              <a:gd name="connsiteY4" fmla="*/ 1263 h 9924"/>
              <a:gd name="connsiteX5" fmla="*/ 5035 w 10000"/>
              <a:gd name="connsiteY5" fmla="*/ 1134 h 9924"/>
              <a:gd name="connsiteX6" fmla="*/ 4888 w 10000"/>
              <a:gd name="connsiteY6" fmla="*/ 1079 h 9924"/>
              <a:gd name="connsiteX7" fmla="*/ 4822 w 10000"/>
              <a:gd name="connsiteY7" fmla="*/ 1059 h 9924"/>
              <a:gd name="connsiteX8" fmla="*/ 4785 w 10000"/>
              <a:gd name="connsiteY8" fmla="*/ 1045 h 9924"/>
              <a:gd name="connsiteX9" fmla="*/ 4730 w 10000"/>
              <a:gd name="connsiteY9" fmla="*/ 1025 h 9924"/>
              <a:gd name="connsiteX10" fmla="*/ 4138 w 10000"/>
              <a:gd name="connsiteY10" fmla="*/ 842 h 9924"/>
              <a:gd name="connsiteX11" fmla="*/ 3603 w 10000"/>
              <a:gd name="connsiteY11" fmla="*/ 699 h 9924"/>
              <a:gd name="connsiteX12" fmla="*/ 3178 w 10000"/>
              <a:gd name="connsiteY12" fmla="*/ 611 h 9924"/>
              <a:gd name="connsiteX13" fmla="*/ 3326 w 10000"/>
              <a:gd name="connsiteY13" fmla="*/ 0 h 9924"/>
              <a:gd name="connsiteX14" fmla="*/ 0 w 10000"/>
              <a:gd name="connsiteY14" fmla="*/ 883 h 9924"/>
              <a:gd name="connsiteX15" fmla="*/ 2697 w 10000"/>
              <a:gd name="connsiteY15" fmla="*/ 2552 h 9924"/>
              <a:gd name="connsiteX16" fmla="*/ 2864 w 10000"/>
              <a:gd name="connsiteY16" fmla="*/ 1881 h 9924"/>
              <a:gd name="connsiteX17" fmla="*/ 3132 w 10000"/>
              <a:gd name="connsiteY17" fmla="*/ 1921 h 9924"/>
              <a:gd name="connsiteX18" fmla="*/ 3594 w 10000"/>
              <a:gd name="connsiteY18" fmla="*/ 2009 h 9924"/>
              <a:gd name="connsiteX19" fmla="*/ 4120 w 10000"/>
              <a:gd name="connsiteY19" fmla="*/ 2131 h 9924"/>
              <a:gd name="connsiteX20" fmla="*/ 4129 w 10000"/>
              <a:gd name="connsiteY20" fmla="*/ 2131 h 9924"/>
              <a:gd name="connsiteX21" fmla="*/ 4138 w 10000"/>
              <a:gd name="connsiteY21" fmla="*/ 2138 h 9924"/>
              <a:gd name="connsiteX22" fmla="*/ 4129 w 10000"/>
              <a:gd name="connsiteY22" fmla="*/ 2131 h 9924"/>
              <a:gd name="connsiteX23" fmla="*/ 4138 w 10000"/>
              <a:gd name="connsiteY23" fmla="*/ 2131 h 9924"/>
              <a:gd name="connsiteX24" fmla="*/ 4176 w 10000"/>
              <a:gd name="connsiteY24" fmla="*/ 2145 h 9924"/>
              <a:gd name="connsiteX25" fmla="*/ 4250 w 10000"/>
              <a:gd name="connsiteY25" fmla="*/ 2166 h 9924"/>
              <a:gd name="connsiteX26" fmla="*/ 4407 w 10000"/>
              <a:gd name="connsiteY26" fmla="*/ 2206 h 9924"/>
              <a:gd name="connsiteX27" fmla="*/ 4693 w 10000"/>
              <a:gd name="connsiteY27" fmla="*/ 2295 h 9924"/>
              <a:gd name="connsiteX28" fmla="*/ 5904 w 10000"/>
              <a:gd name="connsiteY28" fmla="*/ 2755 h 9924"/>
              <a:gd name="connsiteX29" fmla="*/ 7123 w 10000"/>
              <a:gd name="connsiteY29" fmla="*/ 3435 h 9924"/>
              <a:gd name="connsiteX30" fmla="*/ 8203 w 10000"/>
              <a:gd name="connsiteY30" fmla="*/ 4345 h 9924"/>
              <a:gd name="connsiteX31" fmla="*/ 8962 w 10000"/>
              <a:gd name="connsiteY31" fmla="*/ 5452 h 9924"/>
              <a:gd name="connsiteX32" fmla="*/ 9211 w 10000"/>
              <a:gd name="connsiteY32" fmla="*/ 6673 h 9924"/>
              <a:gd name="connsiteX33" fmla="*/ 9100 w 10000"/>
              <a:gd name="connsiteY33" fmla="*/ 7277 h 9924"/>
              <a:gd name="connsiteX34" fmla="*/ 9054 w 10000"/>
              <a:gd name="connsiteY34" fmla="*/ 7420 h 9924"/>
              <a:gd name="connsiteX35" fmla="*/ 8989 w 10000"/>
              <a:gd name="connsiteY35" fmla="*/ 7563 h 9924"/>
              <a:gd name="connsiteX36" fmla="*/ 8971 w 10000"/>
              <a:gd name="connsiteY36" fmla="*/ 7603 h 9924"/>
              <a:gd name="connsiteX37" fmla="*/ 8971 w 10000"/>
              <a:gd name="connsiteY37" fmla="*/ 7610 h 9924"/>
              <a:gd name="connsiteX38" fmla="*/ 8971 w 10000"/>
              <a:gd name="connsiteY38" fmla="*/ 7616 h 9924"/>
              <a:gd name="connsiteX39" fmla="*/ 8971 w 10000"/>
              <a:gd name="connsiteY39" fmla="*/ 7610 h 9924"/>
              <a:gd name="connsiteX40" fmla="*/ 8962 w 10000"/>
              <a:gd name="connsiteY40" fmla="*/ 7630 h 9924"/>
              <a:gd name="connsiteX41" fmla="*/ 8915 w 10000"/>
              <a:gd name="connsiteY41" fmla="*/ 7705 h 9924"/>
              <a:gd name="connsiteX42" fmla="*/ 8841 w 10000"/>
              <a:gd name="connsiteY42" fmla="*/ 7848 h 9924"/>
              <a:gd name="connsiteX43" fmla="*/ 8665 w 10000"/>
              <a:gd name="connsiteY43" fmla="*/ 8105 h 9924"/>
              <a:gd name="connsiteX44" fmla="*/ 8454 w 10000"/>
              <a:gd name="connsiteY44" fmla="*/ 8357 h 9924"/>
              <a:gd name="connsiteX45" fmla="*/ 8223 w 10000"/>
              <a:gd name="connsiteY45" fmla="*/ 8588 h 9924"/>
              <a:gd name="connsiteX46" fmla="*/ 7963 w 10000"/>
              <a:gd name="connsiteY46" fmla="*/ 8791 h 9924"/>
              <a:gd name="connsiteX47" fmla="*/ 6828 w 10000"/>
              <a:gd name="connsiteY47" fmla="*/ 9443 h 9924"/>
              <a:gd name="connsiteX48" fmla="*/ 5709 w 10000"/>
              <a:gd name="connsiteY48" fmla="*/ 9817 h 9924"/>
              <a:gd name="connsiteX49" fmla="*/ 5211 w 10000"/>
              <a:gd name="connsiteY49" fmla="*/ 9924 h 9924"/>
              <a:gd name="connsiteX50" fmla="*/ 6966 w 10000"/>
              <a:gd name="connsiteY50" fmla="*/ 9625 h 9924"/>
              <a:gd name="connsiteX51" fmla="*/ 8259 w 10000"/>
              <a:gd name="connsiteY51" fmla="*/ 9021 h 9924"/>
              <a:gd name="connsiteX52" fmla="*/ 9367 w 10000"/>
              <a:gd name="connsiteY52" fmla="*/ 8031 h 9924"/>
              <a:gd name="connsiteX53" fmla="*/ 9470 w 10000"/>
              <a:gd name="connsiteY53" fmla="*/ 7889 h 9924"/>
              <a:gd name="connsiteX54" fmla="*/ 9516 w 10000"/>
              <a:gd name="connsiteY54" fmla="*/ 7820 h 9924"/>
              <a:gd name="connsiteX55" fmla="*/ 9534 w 10000"/>
              <a:gd name="connsiteY55" fmla="*/ 7799 h 9924"/>
              <a:gd name="connsiteX56" fmla="*/ 9552 w 10000"/>
              <a:gd name="connsiteY56" fmla="*/ 7772 h 9924"/>
              <a:gd name="connsiteX57" fmla="*/ 9571 w 10000"/>
              <a:gd name="connsiteY57" fmla="*/ 7732 h 9924"/>
              <a:gd name="connsiteX58" fmla="*/ 9664 w 10000"/>
              <a:gd name="connsiteY58" fmla="*/ 7576 h 9924"/>
              <a:gd name="connsiteX59" fmla="*/ 9737 w 10000"/>
              <a:gd name="connsiteY59" fmla="*/ 7407 h 9924"/>
              <a:gd name="connsiteX60" fmla="*/ 9959 w 10000"/>
              <a:gd name="connsiteY60" fmla="*/ 6720 h 9924"/>
              <a:gd name="connsiteX61" fmla="*/ 9848 w 10000"/>
              <a:gd name="connsiteY61" fmla="*/ 5274 h 9924"/>
              <a:gd name="connsiteX0" fmla="*/ 9848 w 10000"/>
              <a:gd name="connsiteY0" fmla="*/ 5314 h 9898"/>
              <a:gd name="connsiteX1" fmla="*/ 9136 w 10000"/>
              <a:gd name="connsiteY1" fmla="*/ 3954 h 9898"/>
              <a:gd name="connsiteX2" fmla="*/ 8028 w 10000"/>
              <a:gd name="connsiteY2" fmla="*/ 2812 h 9898"/>
              <a:gd name="connsiteX3" fmla="*/ 6716 w 10000"/>
              <a:gd name="connsiteY3" fmla="*/ 1916 h 9898"/>
              <a:gd name="connsiteX4" fmla="*/ 5359 w 10000"/>
              <a:gd name="connsiteY4" fmla="*/ 1273 h 9898"/>
              <a:gd name="connsiteX5" fmla="*/ 5035 w 10000"/>
              <a:gd name="connsiteY5" fmla="*/ 1143 h 9898"/>
              <a:gd name="connsiteX6" fmla="*/ 4888 w 10000"/>
              <a:gd name="connsiteY6" fmla="*/ 1087 h 9898"/>
              <a:gd name="connsiteX7" fmla="*/ 4822 w 10000"/>
              <a:gd name="connsiteY7" fmla="*/ 1067 h 9898"/>
              <a:gd name="connsiteX8" fmla="*/ 4785 w 10000"/>
              <a:gd name="connsiteY8" fmla="*/ 1053 h 9898"/>
              <a:gd name="connsiteX9" fmla="*/ 4730 w 10000"/>
              <a:gd name="connsiteY9" fmla="*/ 1033 h 9898"/>
              <a:gd name="connsiteX10" fmla="*/ 4138 w 10000"/>
              <a:gd name="connsiteY10" fmla="*/ 848 h 9898"/>
              <a:gd name="connsiteX11" fmla="*/ 3603 w 10000"/>
              <a:gd name="connsiteY11" fmla="*/ 704 h 9898"/>
              <a:gd name="connsiteX12" fmla="*/ 3178 w 10000"/>
              <a:gd name="connsiteY12" fmla="*/ 616 h 9898"/>
              <a:gd name="connsiteX13" fmla="*/ 3326 w 10000"/>
              <a:gd name="connsiteY13" fmla="*/ 0 h 9898"/>
              <a:gd name="connsiteX14" fmla="*/ 0 w 10000"/>
              <a:gd name="connsiteY14" fmla="*/ 890 h 9898"/>
              <a:gd name="connsiteX15" fmla="*/ 2697 w 10000"/>
              <a:gd name="connsiteY15" fmla="*/ 2572 h 9898"/>
              <a:gd name="connsiteX16" fmla="*/ 2864 w 10000"/>
              <a:gd name="connsiteY16" fmla="*/ 1895 h 9898"/>
              <a:gd name="connsiteX17" fmla="*/ 3132 w 10000"/>
              <a:gd name="connsiteY17" fmla="*/ 1936 h 9898"/>
              <a:gd name="connsiteX18" fmla="*/ 3594 w 10000"/>
              <a:gd name="connsiteY18" fmla="*/ 2024 h 9898"/>
              <a:gd name="connsiteX19" fmla="*/ 4120 w 10000"/>
              <a:gd name="connsiteY19" fmla="*/ 2147 h 9898"/>
              <a:gd name="connsiteX20" fmla="*/ 4129 w 10000"/>
              <a:gd name="connsiteY20" fmla="*/ 2147 h 9898"/>
              <a:gd name="connsiteX21" fmla="*/ 4138 w 10000"/>
              <a:gd name="connsiteY21" fmla="*/ 2154 h 9898"/>
              <a:gd name="connsiteX22" fmla="*/ 4129 w 10000"/>
              <a:gd name="connsiteY22" fmla="*/ 2147 h 9898"/>
              <a:gd name="connsiteX23" fmla="*/ 4138 w 10000"/>
              <a:gd name="connsiteY23" fmla="*/ 2147 h 9898"/>
              <a:gd name="connsiteX24" fmla="*/ 4176 w 10000"/>
              <a:gd name="connsiteY24" fmla="*/ 2161 h 9898"/>
              <a:gd name="connsiteX25" fmla="*/ 4250 w 10000"/>
              <a:gd name="connsiteY25" fmla="*/ 2183 h 9898"/>
              <a:gd name="connsiteX26" fmla="*/ 4407 w 10000"/>
              <a:gd name="connsiteY26" fmla="*/ 2223 h 9898"/>
              <a:gd name="connsiteX27" fmla="*/ 4693 w 10000"/>
              <a:gd name="connsiteY27" fmla="*/ 2313 h 9898"/>
              <a:gd name="connsiteX28" fmla="*/ 5904 w 10000"/>
              <a:gd name="connsiteY28" fmla="*/ 2776 h 9898"/>
              <a:gd name="connsiteX29" fmla="*/ 7123 w 10000"/>
              <a:gd name="connsiteY29" fmla="*/ 3461 h 9898"/>
              <a:gd name="connsiteX30" fmla="*/ 8203 w 10000"/>
              <a:gd name="connsiteY30" fmla="*/ 4378 h 9898"/>
              <a:gd name="connsiteX31" fmla="*/ 8962 w 10000"/>
              <a:gd name="connsiteY31" fmla="*/ 5494 h 9898"/>
              <a:gd name="connsiteX32" fmla="*/ 9211 w 10000"/>
              <a:gd name="connsiteY32" fmla="*/ 6724 h 9898"/>
              <a:gd name="connsiteX33" fmla="*/ 9100 w 10000"/>
              <a:gd name="connsiteY33" fmla="*/ 7333 h 9898"/>
              <a:gd name="connsiteX34" fmla="*/ 9054 w 10000"/>
              <a:gd name="connsiteY34" fmla="*/ 7477 h 9898"/>
              <a:gd name="connsiteX35" fmla="*/ 8989 w 10000"/>
              <a:gd name="connsiteY35" fmla="*/ 7621 h 9898"/>
              <a:gd name="connsiteX36" fmla="*/ 8971 w 10000"/>
              <a:gd name="connsiteY36" fmla="*/ 7661 h 9898"/>
              <a:gd name="connsiteX37" fmla="*/ 8971 w 10000"/>
              <a:gd name="connsiteY37" fmla="*/ 7668 h 9898"/>
              <a:gd name="connsiteX38" fmla="*/ 8971 w 10000"/>
              <a:gd name="connsiteY38" fmla="*/ 7674 h 9898"/>
              <a:gd name="connsiteX39" fmla="*/ 8971 w 10000"/>
              <a:gd name="connsiteY39" fmla="*/ 7668 h 9898"/>
              <a:gd name="connsiteX40" fmla="*/ 8962 w 10000"/>
              <a:gd name="connsiteY40" fmla="*/ 7688 h 9898"/>
              <a:gd name="connsiteX41" fmla="*/ 8915 w 10000"/>
              <a:gd name="connsiteY41" fmla="*/ 7764 h 9898"/>
              <a:gd name="connsiteX42" fmla="*/ 8841 w 10000"/>
              <a:gd name="connsiteY42" fmla="*/ 7908 h 9898"/>
              <a:gd name="connsiteX43" fmla="*/ 8665 w 10000"/>
              <a:gd name="connsiteY43" fmla="*/ 8167 h 9898"/>
              <a:gd name="connsiteX44" fmla="*/ 8454 w 10000"/>
              <a:gd name="connsiteY44" fmla="*/ 8421 h 9898"/>
              <a:gd name="connsiteX45" fmla="*/ 8223 w 10000"/>
              <a:gd name="connsiteY45" fmla="*/ 8654 h 9898"/>
              <a:gd name="connsiteX46" fmla="*/ 7963 w 10000"/>
              <a:gd name="connsiteY46" fmla="*/ 8858 h 9898"/>
              <a:gd name="connsiteX47" fmla="*/ 6828 w 10000"/>
              <a:gd name="connsiteY47" fmla="*/ 9515 h 9898"/>
              <a:gd name="connsiteX48" fmla="*/ 5709 w 10000"/>
              <a:gd name="connsiteY48" fmla="*/ 9892 h 9898"/>
              <a:gd name="connsiteX49" fmla="*/ 6966 w 10000"/>
              <a:gd name="connsiteY49" fmla="*/ 9699 h 9898"/>
              <a:gd name="connsiteX50" fmla="*/ 8259 w 10000"/>
              <a:gd name="connsiteY50" fmla="*/ 9090 h 9898"/>
              <a:gd name="connsiteX51" fmla="*/ 9367 w 10000"/>
              <a:gd name="connsiteY51" fmla="*/ 8093 h 9898"/>
              <a:gd name="connsiteX52" fmla="*/ 9470 w 10000"/>
              <a:gd name="connsiteY52" fmla="*/ 7949 h 9898"/>
              <a:gd name="connsiteX53" fmla="*/ 9516 w 10000"/>
              <a:gd name="connsiteY53" fmla="*/ 7880 h 9898"/>
              <a:gd name="connsiteX54" fmla="*/ 9534 w 10000"/>
              <a:gd name="connsiteY54" fmla="*/ 7859 h 9898"/>
              <a:gd name="connsiteX55" fmla="*/ 9552 w 10000"/>
              <a:gd name="connsiteY55" fmla="*/ 7832 h 9898"/>
              <a:gd name="connsiteX56" fmla="*/ 9571 w 10000"/>
              <a:gd name="connsiteY56" fmla="*/ 7791 h 9898"/>
              <a:gd name="connsiteX57" fmla="*/ 9664 w 10000"/>
              <a:gd name="connsiteY57" fmla="*/ 7634 h 9898"/>
              <a:gd name="connsiteX58" fmla="*/ 9737 w 10000"/>
              <a:gd name="connsiteY58" fmla="*/ 7464 h 9898"/>
              <a:gd name="connsiteX59" fmla="*/ 9959 w 10000"/>
              <a:gd name="connsiteY59" fmla="*/ 6771 h 9898"/>
              <a:gd name="connsiteX60" fmla="*/ 9848 w 10000"/>
              <a:gd name="connsiteY60" fmla="*/ 5314 h 9898"/>
              <a:gd name="connsiteX0" fmla="*/ 9848 w 10000"/>
              <a:gd name="connsiteY0" fmla="*/ 5369 h 9820"/>
              <a:gd name="connsiteX1" fmla="*/ 9136 w 10000"/>
              <a:gd name="connsiteY1" fmla="*/ 3995 h 9820"/>
              <a:gd name="connsiteX2" fmla="*/ 8028 w 10000"/>
              <a:gd name="connsiteY2" fmla="*/ 2841 h 9820"/>
              <a:gd name="connsiteX3" fmla="*/ 6716 w 10000"/>
              <a:gd name="connsiteY3" fmla="*/ 1936 h 9820"/>
              <a:gd name="connsiteX4" fmla="*/ 5359 w 10000"/>
              <a:gd name="connsiteY4" fmla="*/ 1286 h 9820"/>
              <a:gd name="connsiteX5" fmla="*/ 5035 w 10000"/>
              <a:gd name="connsiteY5" fmla="*/ 1155 h 9820"/>
              <a:gd name="connsiteX6" fmla="*/ 4888 w 10000"/>
              <a:gd name="connsiteY6" fmla="*/ 1098 h 9820"/>
              <a:gd name="connsiteX7" fmla="*/ 4822 w 10000"/>
              <a:gd name="connsiteY7" fmla="*/ 1078 h 9820"/>
              <a:gd name="connsiteX8" fmla="*/ 4785 w 10000"/>
              <a:gd name="connsiteY8" fmla="*/ 1064 h 9820"/>
              <a:gd name="connsiteX9" fmla="*/ 4730 w 10000"/>
              <a:gd name="connsiteY9" fmla="*/ 1044 h 9820"/>
              <a:gd name="connsiteX10" fmla="*/ 4138 w 10000"/>
              <a:gd name="connsiteY10" fmla="*/ 857 h 9820"/>
              <a:gd name="connsiteX11" fmla="*/ 3603 w 10000"/>
              <a:gd name="connsiteY11" fmla="*/ 711 h 9820"/>
              <a:gd name="connsiteX12" fmla="*/ 3178 w 10000"/>
              <a:gd name="connsiteY12" fmla="*/ 622 h 9820"/>
              <a:gd name="connsiteX13" fmla="*/ 3326 w 10000"/>
              <a:gd name="connsiteY13" fmla="*/ 0 h 9820"/>
              <a:gd name="connsiteX14" fmla="*/ 0 w 10000"/>
              <a:gd name="connsiteY14" fmla="*/ 899 h 9820"/>
              <a:gd name="connsiteX15" fmla="*/ 2697 w 10000"/>
              <a:gd name="connsiteY15" fmla="*/ 2599 h 9820"/>
              <a:gd name="connsiteX16" fmla="*/ 2864 w 10000"/>
              <a:gd name="connsiteY16" fmla="*/ 1915 h 9820"/>
              <a:gd name="connsiteX17" fmla="*/ 3132 w 10000"/>
              <a:gd name="connsiteY17" fmla="*/ 1956 h 9820"/>
              <a:gd name="connsiteX18" fmla="*/ 3594 w 10000"/>
              <a:gd name="connsiteY18" fmla="*/ 2045 h 9820"/>
              <a:gd name="connsiteX19" fmla="*/ 4120 w 10000"/>
              <a:gd name="connsiteY19" fmla="*/ 2169 h 9820"/>
              <a:gd name="connsiteX20" fmla="*/ 4129 w 10000"/>
              <a:gd name="connsiteY20" fmla="*/ 2169 h 9820"/>
              <a:gd name="connsiteX21" fmla="*/ 4138 w 10000"/>
              <a:gd name="connsiteY21" fmla="*/ 2176 h 9820"/>
              <a:gd name="connsiteX22" fmla="*/ 4129 w 10000"/>
              <a:gd name="connsiteY22" fmla="*/ 2169 h 9820"/>
              <a:gd name="connsiteX23" fmla="*/ 4138 w 10000"/>
              <a:gd name="connsiteY23" fmla="*/ 2169 h 9820"/>
              <a:gd name="connsiteX24" fmla="*/ 4176 w 10000"/>
              <a:gd name="connsiteY24" fmla="*/ 2183 h 9820"/>
              <a:gd name="connsiteX25" fmla="*/ 4250 w 10000"/>
              <a:gd name="connsiteY25" fmla="*/ 2205 h 9820"/>
              <a:gd name="connsiteX26" fmla="*/ 4407 w 10000"/>
              <a:gd name="connsiteY26" fmla="*/ 2246 h 9820"/>
              <a:gd name="connsiteX27" fmla="*/ 4693 w 10000"/>
              <a:gd name="connsiteY27" fmla="*/ 2337 h 9820"/>
              <a:gd name="connsiteX28" fmla="*/ 5904 w 10000"/>
              <a:gd name="connsiteY28" fmla="*/ 2805 h 9820"/>
              <a:gd name="connsiteX29" fmla="*/ 7123 w 10000"/>
              <a:gd name="connsiteY29" fmla="*/ 3497 h 9820"/>
              <a:gd name="connsiteX30" fmla="*/ 8203 w 10000"/>
              <a:gd name="connsiteY30" fmla="*/ 4423 h 9820"/>
              <a:gd name="connsiteX31" fmla="*/ 8962 w 10000"/>
              <a:gd name="connsiteY31" fmla="*/ 5551 h 9820"/>
              <a:gd name="connsiteX32" fmla="*/ 9211 w 10000"/>
              <a:gd name="connsiteY32" fmla="*/ 6793 h 9820"/>
              <a:gd name="connsiteX33" fmla="*/ 9100 w 10000"/>
              <a:gd name="connsiteY33" fmla="*/ 7409 h 9820"/>
              <a:gd name="connsiteX34" fmla="*/ 9054 w 10000"/>
              <a:gd name="connsiteY34" fmla="*/ 7554 h 9820"/>
              <a:gd name="connsiteX35" fmla="*/ 8989 w 10000"/>
              <a:gd name="connsiteY35" fmla="*/ 7700 h 9820"/>
              <a:gd name="connsiteX36" fmla="*/ 8971 w 10000"/>
              <a:gd name="connsiteY36" fmla="*/ 7740 h 9820"/>
              <a:gd name="connsiteX37" fmla="*/ 8971 w 10000"/>
              <a:gd name="connsiteY37" fmla="*/ 7747 h 9820"/>
              <a:gd name="connsiteX38" fmla="*/ 8971 w 10000"/>
              <a:gd name="connsiteY38" fmla="*/ 7753 h 9820"/>
              <a:gd name="connsiteX39" fmla="*/ 8971 w 10000"/>
              <a:gd name="connsiteY39" fmla="*/ 7747 h 9820"/>
              <a:gd name="connsiteX40" fmla="*/ 8962 w 10000"/>
              <a:gd name="connsiteY40" fmla="*/ 7767 h 9820"/>
              <a:gd name="connsiteX41" fmla="*/ 8915 w 10000"/>
              <a:gd name="connsiteY41" fmla="*/ 7844 h 9820"/>
              <a:gd name="connsiteX42" fmla="*/ 8841 w 10000"/>
              <a:gd name="connsiteY42" fmla="*/ 7989 h 9820"/>
              <a:gd name="connsiteX43" fmla="*/ 8665 w 10000"/>
              <a:gd name="connsiteY43" fmla="*/ 8251 h 9820"/>
              <a:gd name="connsiteX44" fmla="*/ 8454 w 10000"/>
              <a:gd name="connsiteY44" fmla="*/ 8508 h 9820"/>
              <a:gd name="connsiteX45" fmla="*/ 8223 w 10000"/>
              <a:gd name="connsiteY45" fmla="*/ 8743 h 9820"/>
              <a:gd name="connsiteX46" fmla="*/ 7963 w 10000"/>
              <a:gd name="connsiteY46" fmla="*/ 8949 h 9820"/>
              <a:gd name="connsiteX47" fmla="*/ 6828 w 10000"/>
              <a:gd name="connsiteY47" fmla="*/ 9613 h 9820"/>
              <a:gd name="connsiteX48" fmla="*/ 6966 w 10000"/>
              <a:gd name="connsiteY48" fmla="*/ 9799 h 9820"/>
              <a:gd name="connsiteX49" fmla="*/ 8259 w 10000"/>
              <a:gd name="connsiteY49" fmla="*/ 9184 h 9820"/>
              <a:gd name="connsiteX50" fmla="*/ 9367 w 10000"/>
              <a:gd name="connsiteY50" fmla="*/ 8176 h 9820"/>
              <a:gd name="connsiteX51" fmla="*/ 9470 w 10000"/>
              <a:gd name="connsiteY51" fmla="*/ 8031 h 9820"/>
              <a:gd name="connsiteX52" fmla="*/ 9516 w 10000"/>
              <a:gd name="connsiteY52" fmla="*/ 7961 h 9820"/>
              <a:gd name="connsiteX53" fmla="*/ 9534 w 10000"/>
              <a:gd name="connsiteY53" fmla="*/ 7940 h 9820"/>
              <a:gd name="connsiteX54" fmla="*/ 9552 w 10000"/>
              <a:gd name="connsiteY54" fmla="*/ 7913 h 9820"/>
              <a:gd name="connsiteX55" fmla="*/ 9571 w 10000"/>
              <a:gd name="connsiteY55" fmla="*/ 7871 h 9820"/>
              <a:gd name="connsiteX56" fmla="*/ 9664 w 10000"/>
              <a:gd name="connsiteY56" fmla="*/ 7713 h 9820"/>
              <a:gd name="connsiteX57" fmla="*/ 9737 w 10000"/>
              <a:gd name="connsiteY57" fmla="*/ 7541 h 9820"/>
              <a:gd name="connsiteX58" fmla="*/ 9959 w 10000"/>
              <a:gd name="connsiteY58" fmla="*/ 6841 h 9820"/>
              <a:gd name="connsiteX59" fmla="*/ 9848 w 10000"/>
              <a:gd name="connsiteY59" fmla="*/ 5369 h 9820"/>
              <a:gd name="connsiteX0" fmla="*/ 9848 w 10000"/>
              <a:gd name="connsiteY0" fmla="*/ 5467 h 9793"/>
              <a:gd name="connsiteX1" fmla="*/ 9136 w 10000"/>
              <a:gd name="connsiteY1" fmla="*/ 4068 h 9793"/>
              <a:gd name="connsiteX2" fmla="*/ 8028 w 10000"/>
              <a:gd name="connsiteY2" fmla="*/ 2893 h 9793"/>
              <a:gd name="connsiteX3" fmla="*/ 6716 w 10000"/>
              <a:gd name="connsiteY3" fmla="*/ 1971 h 9793"/>
              <a:gd name="connsiteX4" fmla="*/ 5359 w 10000"/>
              <a:gd name="connsiteY4" fmla="*/ 1310 h 9793"/>
              <a:gd name="connsiteX5" fmla="*/ 5035 w 10000"/>
              <a:gd name="connsiteY5" fmla="*/ 1176 h 9793"/>
              <a:gd name="connsiteX6" fmla="*/ 4888 w 10000"/>
              <a:gd name="connsiteY6" fmla="*/ 1118 h 9793"/>
              <a:gd name="connsiteX7" fmla="*/ 4822 w 10000"/>
              <a:gd name="connsiteY7" fmla="*/ 1098 h 9793"/>
              <a:gd name="connsiteX8" fmla="*/ 4785 w 10000"/>
              <a:gd name="connsiteY8" fmla="*/ 1084 h 9793"/>
              <a:gd name="connsiteX9" fmla="*/ 4730 w 10000"/>
              <a:gd name="connsiteY9" fmla="*/ 1063 h 9793"/>
              <a:gd name="connsiteX10" fmla="*/ 4138 w 10000"/>
              <a:gd name="connsiteY10" fmla="*/ 873 h 9793"/>
              <a:gd name="connsiteX11" fmla="*/ 3603 w 10000"/>
              <a:gd name="connsiteY11" fmla="*/ 724 h 9793"/>
              <a:gd name="connsiteX12" fmla="*/ 3178 w 10000"/>
              <a:gd name="connsiteY12" fmla="*/ 633 h 9793"/>
              <a:gd name="connsiteX13" fmla="*/ 3326 w 10000"/>
              <a:gd name="connsiteY13" fmla="*/ 0 h 9793"/>
              <a:gd name="connsiteX14" fmla="*/ 0 w 10000"/>
              <a:gd name="connsiteY14" fmla="*/ 915 h 9793"/>
              <a:gd name="connsiteX15" fmla="*/ 2697 w 10000"/>
              <a:gd name="connsiteY15" fmla="*/ 2647 h 9793"/>
              <a:gd name="connsiteX16" fmla="*/ 2864 w 10000"/>
              <a:gd name="connsiteY16" fmla="*/ 1950 h 9793"/>
              <a:gd name="connsiteX17" fmla="*/ 3132 w 10000"/>
              <a:gd name="connsiteY17" fmla="*/ 1992 h 9793"/>
              <a:gd name="connsiteX18" fmla="*/ 3594 w 10000"/>
              <a:gd name="connsiteY18" fmla="*/ 2082 h 9793"/>
              <a:gd name="connsiteX19" fmla="*/ 4120 w 10000"/>
              <a:gd name="connsiteY19" fmla="*/ 2209 h 9793"/>
              <a:gd name="connsiteX20" fmla="*/ 4129 w 10000"/>
              <a:gd name="connsiteY20" fmla="*/ 2209 h 9793"/>
              <a:gd name="connsiteX21" fmla="*/ 4138 w 10000"/>
              <a:gd name="connsiteY21" fmla="*/ 2216 h 9793"/>
              <a:gd name="connsiteX22" fmla="*/ 4129 w 10000"/>
              <a:gd name="connsiteY22" fmla="*/ 2209 h 9793"/>
              <a:gd name="connsiteX23" fmla="*/ 4138 w 10000"/>
              <a:gd name="connsiteY23" fmla="*/ 2209 h 9793"/>
              <a:gd name="connsiteX24" fmla="*/ 4176 w 10000"/>
              <a:gd name="connsiteY24" fmla="*/ 2223 h 9793"/>
              <a:gd name="connsiteX25" fmla="*/ 4250 w 10000"/>
              <a:gd name="connsiteY25" fmla="*/ 2245 h 9793"/>
              <a:gd name="connsiteX26" fmla="*/ 4407 w 10000"/>
              <a:gd name="connsiteY26" fmla="*/ 2287 h 9793"/>
              <a:gd name="connsiteX27" fmla="*/ 4693 w 10000"/>
              <a:gd name="connsiteY27" fmla="*/ 2380 h 9793"/>
              <a:gd name="connsiteX28" fmla="*/ 5904 w 10000"/>
              <a:gd name="connsiteY28" fmla="*/ 2856 h 9793"/>
              <a:gd name="connsiteX29" fmla="*/ 7123 w 10000"/>
              <a:gd name="connsiteY29" fmla="*/ 3561 h 9793"/>
              <a:gd name="connsiteX30" fmla="*/ 8203 w 10000"/>
              <a:gd name="connsiteY30" fmla="*/ 4504 h 9793"/>
              <a:gd name="connsiteX31" fmla="*/ 8962 w 10000"/>
              <a:gd name="connsiteY31" fmla="*/ 5653 h 9793"/>
              <a:gd name="connsiteX32" fmla="*/ 9211 w 10000"/>
              <a:gd name="connsiteY32" fmla="*/ 6918 h 9793"/>
              <a:gd name="connsiteX33" fmla="*/ 9100 w 10000"/>
              <a:gd name="connsiteY33" fmla="*/ 7545 h 9793"/>
              <a:gd name="connsiteX34" fmla="*/ 9054 w 10000"/>
              <a:gd name="connsiteY34" fmla="*/ 7692 h 9793"/>
              <a:gd name="connsiteX35" fmla="*/ 8989 w 10000"/>
              <a:gd name="connsiteY35" fmla="*/ 7841 h 9793"/>
              <a:gd name="connsiteX36" fmla="*/ 8971 w 10000"/>
              <a:gd name="connsiteY36" fmla="*/ 7882 h 9793"/>
              <a:gd name="connsiteX37" fmla="*/ 8971 w 10000"/>
              <a:gd name="connsiteY37" fmla="*/ 7889 h 9793"/>
              <a:gd name="connsiteX38" fmla="*/ 8971 w 10000"/>
              <a:gd name="connsiteY38" fmla="*/ 7895 h 9793"/>
              <a:gd name="connsiteX39" fmla="*/ 8971 w 10000"/>
              <a:gd name="connsiteY39" fmla="*/ 7889 h 9793"/>
              <a:gd name="connsiteX40" fmla="*/ 8962 w 10000"/>
              <a:gd name="connsiteY40" fmla="*/ 7909 h 9793"/>
              <a:gd name="connsiteX41" fmla="*/ 8915 w 10000"/>
              <a:gd name="connsiteY41" fmla="*/ 7988 h 9793"/>
              <a:gd name="connsiteX42" fmla="*/ 8841 w 10000"/>
              <a:gd name="connsiteY42" fmla="*/ 8135 h 9793"/>
              <a:gd name="connsiteX43" fmla="*/ 8665 w 10000"/>
              <a:gd name="connsiteY43" fmla="*/ 8402 h 9793"/>
              <a:gd name="connsiteX44" fmla="*/ 8454 w 10000"/>
              <a:gd name="connsiteY44" fmla="*/ 8664 h 9793"/>
              <a:gd name="connsiteX45" fmla="*/ 8223 w 10000"/>
              <a:gd name="connsiteY45" fmla="*/ 8903 h 9793"/>
              <a:gd name="connsiteX46" fmla="*/ 7963 w 10000"/>
              <a:gd name="connsiteY46" fmla="*/ 9113 h 9793"/>
              <a:gd name="connsiteX47" fmla="*/ 6828 w 10000"/>
              <a:gd name="connsiteY47" fmla="*/ 9789 h 9793"/>
              <a:gd name="connsiteX48" fmla="*/ 8259 w 10000"/>
              <a:gd name="connsiteY48" fmla="*/ 9352 h 9793"/>
              <a:gd name="connsiteX49" fmla="*/ 9367 w 10000"/>
              <a:gd name="connsiteY49" fmla="*/ 8326 h 9793"/>
              <a:gd name="connsiteX50" fmla="*/ 9470 w 10000"/>
              <a:gd name="connsiteY50" fmla="*/ 8178 h 9793"/>
              <a:gd name="connsiteX51" fmla="*/ 9516 w 10000"/>
              <a:gd name="connsiteY51" fmla="*/ 8107 h 9793"/>
              <a:gd name="connsiteX52" fmla="*/ 9534 w 10000"/>
              <a:gd name="connsiteY52" fmla="*/ 8086 h 9793"/>
              <a:gd name="connsiteX53" fmla="*/ 9552 w 10000"/>
              <a:gd name="connsiteY53" fmla="*/ 8058 h 9793"/>
              <a:gd name="connsiteX54" fmla="*/ 9571 w 10000"/>
              <a:gd name="connsiteY54" fmla="*/ 8015 h 9793"/>
              <a:gd name="connsiteX55" fmla="*/ 9664 w 10000"/>
              <a:gd name="connsiteY55" fmla="*/ 7854 h 9793"/>
              <a:gd name="connsiteX56" fmla="*/ 9737 w 10000"/>
              <a:gd name="connsiteY56" fmla="*/ 7679 h 9793"/>
              <a:gd name="connsiteX57" fmla="*/ 9959 w 10000"/>
              <a:gd name="connsiteY57" fmla="*/ 6966 h 9793"/>
              <a:gd name="connsiteX58" fmla="*/ 9848 w 10000"/>
              <a:gd name="connsiteY58" fmla="*/ 5467 h 9793"/>
              <a:gd name="connsiteX0" fmla="*/ 9848 w 10000"/>
              <a:gd name="connsiteY0" fmla="*/ 5583 h 9583"/>
              <a:gd name="connsiteX1" fmla="*/ 9136 w 10000"/>
              <a:gd name="connsiteY1" fmla="*/ 4154 h 9583"/>
              <a:gd name="connsiteX2" fmla="*/ 8028 w 10000"/>
              <a:gd name="connsiteY2" fmla="*/ 2954 h 9583"/>
              <a:gd name="connsiteX3" fmla="*/ 6716 w 10000"/>
              <a:gd name="connsiteY3" fmla="*/ 2013 h 9583"/>
              <a:gd name="connsiteX4" fmla="*/ 5359 w 10000"/>
              <a:gd name="connsiteY4" fmla="*/ 1338 h 9583"/>
              <a:gd name="connsiteX5" fmla="*/ 5035 w 10000"/>
              <a:gd name="connsiteY5" fmla="*/ 1201 h 9583"/>
              <a:gd name="connsiteX6" fmla="*/ 4888 w 10000"/>
              <a:gd name="connsiteY6" fmla="*/ 1142 h 9583"/>
              <a:gd name="connsiteX7" fmla="*/ 4822 w 10000"/>
              <a:gd name="connsiteY7" fmla="*/ 1121 h 9583"/>
              <a:gd name="connsiteX8" fmla="*/ 4785 w 10000"/>
              <a:gd name="connsiteY8" fmla="*/ 1107 h 9583"/>
              <a:gd name="connsiteX9" fmla="*/ 4730 w 10000"/>
              <a:gd name="connsiteY9" fmla="*/ 1085 h 9583"/>
              <a:gd name="connsiteX10" fmla="*/ 4138 w 10000"/>
              <a:gd name="connsiteY10" fmla="*/ 891 h 9583"/>
              <a:gd name="connsiteX11" fmla="*/ 3603 w 10000"/>
              <a:gd name="connsiteY11" fmla="*/ 739 h 9583"/>
              <a:gd name="connsiteX12" fmla="*/ 3178 w 10000"/>
              <a:gd name="connsiteY12" fmla="*/ 646 h 9583"/>
              <a:gd name="connsiteX13" fmla="*/ 3326 w 10000"/>
              <a:gd name="connsiteY13" fmla="*/ 0 h 9583"/>
              <a:gd name="connsiteX14" fmla="*/ 0 w 10000"/>
              <a:gd name="connsiteY14" fmla="*/ 934 h 9583"/>
              <a:gd name="connsiteX15" fmla="*/ 2697 w 10000"/>
              <a:gd name="connsiteY15" fmla="*/ 2703 h 9583"/>
              <a:gd name="connsiteX16" fmla="*/ 2864 w 10000"/>
              <a:gd name="connsiteY16" fmla="*/ 1991 h 9583"/>
              <a:gd name="connsiteX17" fmla="*/ 3132 w 10000"/>
              <a:gd name="connsiteY17" fmla="*/ 2034 h 9583"/>
              <a:gd name="connsiteX18" fmla="*/ 3594 w 10000"/>
              <a:gd name="connsiteY18" fmla="*/ 2126 h 9583"/>
              <a:gd name="connsiteX19" fmla="*/ 4120 w 10000"/>
              <a:gd name="connsiteY19" fmla="*/ 2256 h 9583"/>
              <a:gd name="connsiteX20" fmla="*/ 4129 w 10000"/>
              <a:gd name="connsiteY20" fmla="*/ 2256 h 9583"/>
              <a:gd name="connsiteX21" fmla="*/ 4138 w 10000"/>
              <a:gd name="connsiteY21" fmla="*/ 2263 h 9583"/>
              <a:gd name="connsiteX22" fmla="*/ 4129 w 10000"/>
              <a:gd name="connsiteY22" fmla="*/ 2256 h 9583"/>
              <a:gd name="connsiteX23" fmla="*/ 4138 w 10000"/>
              <a:gd name="connsiteY23" fmla="*/ 2256 h 9583"/>
              <a:gd name="connsiteX24" fmla="*/ 4176 w 10000"/>
              <a:gd name="connsiteY24" fmla="*/ 2270 h 9583"/>
              <a:gd name="connsiteX25" fmla="*/ 4250 w 10000"/>
              <a:gd name="connsiteY25" fmla="*/ 2292 h 9583"/>
              <a:gd name="connsiteX26" fmla="*/ 4407 w 10000"/>
              <a:gd name="connsiteY26" fmla="*/ 2335 h 9583"/>
              <a:gd name="connsiteX27" fmla="*/ 4693 w 10000"/>
              <a:gd name="connsiteY27" fmla="*/ 2430 h 9583"/>
              <a:gd name="connsiteX28" fmla="*/ 5904 w 10000"/>
              <a:gd name="connsiteY28" fmla="*/ 2916 h 9583"/>
              <a:gd name="connsiteX29" fmla="*/ 7123 w 10000"/>
              <a:gd name="connsiteY29" fmla="*/ 3636 h 9583"/>
              <a:gd name="connsiteX30" fmla="*/ 8203 w 10000"/>
              <a:gd name="connsiteY30" fmla="*/ 4599 h 9583"/>
              <a:gd name="connsiteX31" fmla="*/ 8962 w 10000"/>
              <a:gd name="connsiteY31" fmla="*/ 5772 h 9583"/>
              <a:gd name="connsiteX32" fmla="*/ 9211 w 10000"/>
              <a:gd name="connsiteY32" fmla="*/ 7064 h 9583"/>
              <a:gd name="connsiteX33" fmla="*/ 9100 w 10000"/>
              <a:gd name="connsiteY33" fmla="*/ 7704 h 9583"/>
              <a:gd name="connsiteX34" fmla="*/ 9054 w 10000"/>
              <a:gd name="connsiteY34" fmla="*/ 7855 h 9583"/>
              <a:gd name="connsiteX35" fmla="*/ 8989 w 10000"/>
              <a:gd name="connsiteY35" fmla="*/ 8007 h 9583"/>
              <a:gd name="connsiteX36" fmla="*/ 8971 w 10000"/>
              <a:gd name="connsiteY36" fmla="*/ 8049 h 9583"/>
              <a:gd name="connsiteX37" fmla="*/ 8971 w 10000"/>
              <a:gd name="connsiteY37" fmla="*/ 8056 h 9583"/>
              <a:gd name="connsiteX38" fmla="*/ 8971 w 10000"/>
              <a:gd name="connsiteY38" fmla="*/ 8062 h 9583"/>
              <a:gd name="connsiteX39" fmla="*/ 8971 w 10000"/>
              <a:gd name="connsiteY39" fmla="*/ 8056 h 9583"/>
              <a:gd name="connsiteX40" fmla="*/ 8962 w 10000"/>
              <a:gd name="connsiteY40" fmla="*/ 8076 h 9583"/>
              <a:gd name="connsiteX41" fmla="*/ 8915 w 10000"/>
              <a:gd name="connsiteY41" fmla="*/ 8157 h 9583"/>
              <a:gd name="connsiteX42" fmla="*/ 8841 w 10000"/>
              <a:gd name="connsiteY42" fmla="*/ 8307 h 9583"/>
              <a:gd name="connsiteX43" fmla="*/ 8665 w 10000"/>
              <a:gd name="connsiteY43" fmla="*/ 8580 h 9583"/>
              <a:gd name="connsiteX44" fmla="*/ 8454 w 10000"/>
              <a:gd name="connsiteY44" fmla="*/ 8847 h 9583"/>
              <a:gd name="connsiteX45" fmla="*/ 8223 w 10000"/>
              <a:gd name="connsiteY45" fmla="*/ 9091 h 9583"/>
              <a:gd name="connsiteX46" fmla="*/ 7963 w 10000"/>
              <a:gd name="connsiteY46" fmla="*/ 9306 h 9583"/>
              <a:gd name="connsiteX47" fmla="*/ 8259 w 10000"/>
              <a:gd name="connsiteY47" fmla="*/ 9550 h 9583"/>
              <a:gd name="connsiteX48" fmla="*/ 9367 w 10000"/>
              <a:gd name="connsiteY48" fmla="*/ 8502 h 9583"/>
              <a:gd name="connsiteX49" fmla="*/ 9470 w 10000"/>
              <a:gd name="connsiteY49" fmla="*/ 8351 h 9583"/>
              <a:gd name="connsiteX50" fmla="*/ 9516 w 10000"/>
              <a:gd name="connsiteY50" fmla="*/ 8278 h 9583"/>
              <a:gd name="connsiteX51" fmla="*/ 9534 w 10000"/>
              <a:gd name="connsiteY51" fmla="*/ 8257 h 9583"/>
              <a:gd name="connsiteX52" fmla="*/ 9552 w 10000"/>
              <a:gd name="connsiteY52" fmla="*/ 8228 h 9583"/>
              <a:gd name="connsiteX53" fmla="*/ 9571 w 10000"/>
              <a:gd name="connsiteY53" fmla="*/ 8184 h 9583"/>
              <a:gd name="connsiteX54" fmla="*/ 9664 w 10000"/>
              <a:gd name="connsiteY54" fmla="*/ 8020 h 9583"/>
              <a:gd name="connsiteX55" fmla="*/ 9737 w 10000"/>
              <a:gd name="connsiteY55" fmla="*/ 7841 h 9583"/>
              <a:gd name="connsiteX56" fmla="*/ 9959 w 10000"/>
              <a:gd name="connsiteY56" fmla="*/ 7113 h 9583"/>
              <a:gd name="connsiteX57" fmla="*/ 9848 w 10000"/>
              <a:gd name="connsiteY57" fmla="*/ 5583 h 9583"/>
              <a:gd name="connsiteX0" fmla="*/ 9848 w 10000"/>
              <a:gd name="connsiteY0" fmla="*/ 5826 h 9711"/>
              <a:gd name="connsiteX1" fmla="*/ 9136 w 10000"/>
              <a:gd name="connsiteY1" fmla="*/ 4335 h 9711"/>
              <a:gd name="connsiteX2" fmla="*/ 8028 w 10000"/>
              <a:gd name="connsiteY2" fmla="*/ 3083 h 9711"/>
              <a:gd name="connsiteX3" fmla="*/ 6716 w 10000"/>
              <a:gd name="connsiteY3" fmla="*/ 2101 h 9711"/>
              <a:gd name="connsiteX4" fmla="*/ 5359 w 10000"/>
              <a:gd name="connsiteY4" fmla="*/ 1396 h 9711"/>
              <a:gd name="connsiteX5" fmla="*/ 5035 w 10000"/>
              <a:gd name="connsiteY5" fmla="*/ 1253 h 9711"/>
              <a:gd name="connsiteX6" fmla="*/ 4888 w 10000"/>
              <a:gd name="connsiteY6" fmla="*/ 1192 h 9711"/>
              <a:gd name="connsiteX7" fmla="*/ 4822 w 10000"/>
              <a:gd name="connsiteY7" fmla="*/ 1170 h 9711"/>
              <a:gd name="connsiteX8" fmla="*/ 4785 w 10000"/>
              <a:gd name="connsiteY8" fmla="*/ 1155 h 9711"/>
              <a:gd name="connsiteX9" fmla="*/ 4730 w 10000"/>
              <a:gd name="connsiteY9" fmla="*/ 1132 h 9711"/>
              <a:gd name="connsiteX10" fmla="*/ 4138 w 10000"/>
              <a:gd name="connsiteY10" fmla="*/ 930 h 9711"/>
              <a:gd name="connsiteX11" fmla="*/ 3603 w 10000"/>
              <a:gd name="connsiteY11" fmla="*/ 771 h 9711"/>
              <a:gd name="connsiteX12" fmla="*/ 3178 w 10000"/>
              <a:gd name="connsiteY12" fmla="*/ 674 h 9711"/>
              <a:gd name="connsiteX13" fmla="*/ 3326 w 10000"/>
              <a:gd name="connsiteY13" fmla="*/ 0 h 9711"/>
              <a:gd name="connsiteX14" fmla="*/ 0 w 10000"/>
              <a:gd name="connsiteY14" fmla="*/ 975 h 9711"/>
              <a:gd name="connsiteX15" fmla="*/ 2697 w 10000"/>
              <a:gd name="connsiteY15" fmla="*/ 2821 h 9711"/>
              <a:gd name="connsiteX16" fmla="*/ 2864 w 10000"/>
              <a:gd name="connsiteY16" fmla="*/ 2078 h 9711"/>
              <a:gd name="connsiteX17" fmla="*/ 3132 w 10000"/>
              <a:gd name="connsiteY17" fmla="*/ 2123 h 9711"/>
              <a:gd name="connsiteX18" fmla="*/ 3594 w 10000"/>
              <a:gd name="connsiteY18" fmla="*/ 2219 h 9711"/>
              <a:gd name="connsiteX19" fmla="*/ 4120 w 10000"/>
              <a:gd name="connsiteY19" fmla="*/ 2354 h 9711"/>
              <a:gd name="connsiteX20" fmla="*/ 4129 w 10000"/>
              <a:gd name="connsiteY20" fmla="*/ 2354 h 9711"/>
              <a:gd name="connsiteX21" fmla="*/ 4138 w 10000"/>
              <a:gd name="connsiteY21" fmla="*/ 2361 h 9711"/>
              <a:gd name="connsiteX22" fmla="*/ 4129 w 10000"/>
              <a:gd name="connsiteY22" fmla="*/ 2354 h 9711"/>
              <a:gd name="connsiteX23" fmla="*/ 4138 w 10000"/>
              <a:gd name="connsiteY23" fmla="*/ 2354 h 9711"/>
              <a:gd name="connsiteX24" fmla="*/ 4176 w 10000"/>
              <a:gd name="connsiteY24" fmla="*/ 2369 h 9711"/>
              <a:gd name="connsiteX25" fmla="*/ 4250 w 10000"/>
              <a:gd name="connsiteY25" fmla="*/ 2392 h 9711"/>
              <a:gd name="connsiteX26" fmla="*/ 4407 w 10000"/>
              <a:gd name="connsiteY26" fmla="*/ 2437 h 9711"/>
              <a:gd name="connsiteX27" fmla="*/ 4693 w 10000"/>
              <a:gd name="connsiteY27" fmla="*/ 2536 h 9711"/>
              <a:gd name="connsiteX28" fmla="*/ 5904 w 10000"/>
              <a:gd name="connsiteY28" fmla="*/ 3043 h 9711"/>
              <a:gd name="connsiteX29" fmla="*/ 7123 w 10000"/>
              <a:gd name="connsiteY29" fmla="*/ 3794 h 9711"/>
              <a:gd name="connsiteX30" fmla="*/ 8203 w 10000"/>
              <a:gd name="connsiteY30" fmla="*/ 4799 h 9711"/>
              <a:gd name="connsiteX31" fmla="*/ 8962 w 10000"/>
              <a:gd name="connsiteY31" fmla="*/ 6023 h 9711"/>
              <a:gd name="connsiteX32" fmla="*/ 9211 w 10000"/>
              <a:gd name="connsiteY32" fmla="*/ 7371 h 9711"/>
              <a:gd name="connsiteX33" fmla="*/ 9100 w 10000"/>
              <a:gd name="connsiteY33" fmla="*/ 8039 h 9711"/>
              <a:gd name="connsiteX34" fmla="*/ 9054 w 10000"/>
              <a:gd name="connsiteY34" fmla="*/ 8197 h 9711"/>
              <a:gd name="connsiteX35" fmla="*/ 8989 w 10000"/>
              <a:gd name="connsiteY35" fmla="*/ 8355 h 9711"/>
              <a:gd name="connsiteX36" fmla="*/ 8971 w 10000"/>
              <a:gd name="connsiteY36" fmla="*/ 8399 h 9711"/>
              <a:gd name="connsiteX37" fmla="*/ 8971 w 10000"/>
              <a:gd name="connsiteY37" fmla="*/ 8407 h 9711"/>
              <a:gd name="connsiteX38" fmla="*/ 8971 w 10000"/>
              <a:gd name="connsiteY38" fmla="*/ 8413 h 9711"/>
              <a:gd name="connsiteX39" fmla="*/ 8971 w 10000"/>
              <a:gd name="connsiteY39" fmla="*/ 8407 h 9711"/>
              <a:gd name="connsiteX40" fmla="*/ 8962 w 10000"/>
              <a:gd name="connsiteY40" fmla="*/ 8427 h 9711"/>
              <a:gd name="connsiteX41" fmla="*/ 8915 w 10000"/>
              <a:gd name="connsiteY41" fmla="*/ 8512 h 9711"/>
              <a:gd name="connsiteX42" fmla="*/ 8841 w 10000"/>
              <a:gd name="connsiteY42" fmla="*/ 8668 h 9711"/>
              <a:gd name="connsiteX43" fmla="*/ 8665 w 10000"/>
              <a:gd name="connsiteY43" fmla="*/ 8953 h 9711"/>
              <a:gd name="connsiteX44" fmla="*/ 8454 w 10000"/>
              <a:gd name="connsiteY44" fmla="*/ 9232 h 9711"/>
              <a:gd name="connsiteX45" fmla="*/ 8223 w 10000"/>
              <a:gd name="connsiteY45" fmla="*/ 9487 h 9711"/>
              <a:gd name="connsiteX46" fmla="*/ 7963 w 10000"/>
              <a:gd name="connsiteY46" fmla="*/ 9711 h 9711"/>
              <a:gd name="connsiteX47" fmla="*/ 9367 w 10000"/>
              <a:gd name="connsiteY47" fmla="*/ 8872 h 9711"/>
              <a:gd name="connsiteX48" fmla="*/ 9470 w 10000"/>
              <a:gd name="connsiteY48" fmla="*/ 8714 h 9711"/>
              <a:gd name="connsiteX49" fmla="*/ 9516 w 10000"/>
              <a:gd name="connsiteY49" fmla="*/ 8638 h 9711"/>
              <a:gd name="connsiteX50" fmla="*/ 9534 w 10000"/>
              <a:gd name="connsiteY50" fmla="*/ 8616 h 9711"/>
              <a:gd name="connsiteX51" fmla="*/ 9552 w 10000"/>
              <a:gd name="connsiteY51" fmla="*/ 8586 h 9711"/>
              <a:gd name="connsiteX52" fmla="*/ 9571 w 10000"/>
              <a:gd name="connsiteY52" fmla="*/ 8540 h 9711"/>
              <a:gd name="connsiteX53" fmla="*/ 9664 w 10000"/>
              <a:gd name="connsiteY53" fmla="*/ 8369 h 9711"/>
              <a:gd name="connsiteX54" fmla="*/ 9737 w 10000"/>
              <a:gd name="connsiteY54" fmla="*/ 8182 h 9711"/>
              <a:gd name="connsiteX55" fmla="*/ 9959 w 10000"/>
              <a:gd name="connsiteY55" fmla="*/ 7423 h 9711"/>
              <a:gd name="connsiteX56" fmla="*/ 9848 w 10000"/>
              <a:gd name="connsiteY56" fmla="*/ 5826 h 9711"/>
              <a:gd name="connsiteX0" fmla="*/ 9848 w 10000"/>
              <a:gd name="connsiteY0" fmla="*/ 5999 h 9769"/>
              <a:gd name="connsiteX1" fmla="*/ 9136 w 10000"/>
              <a:gd name="connsiteY1" fmla="*/ 4464 h 9769"/>
              <a:gd name="connsiteX2" fmla="*/ 8028 w 10000"/>
              <a:gd name="connsiteY2" fmla="*/ 3175 h 9769"/>
              <a:gd name="connsiteX3" fmla="*/ 6716 w 10000"/>
              <a:gd name="connsiteY3" fmla="*/ 2164 h 9769"/>
              <a:gd name="connsiteX4" fmla="*/ 5359 w 10000"/>
              <a:gd name="connsiteY4" fmla="*/ 1438 h 9769"/>
              <a:gd name="connsiteX5" fmla="*/ 5035 w 10000"/>
              <a:gd name="connsiteY5" fmla="*/ 1290 h 9769"/>
              <a:gd name="connsiteX6" fmla="*/ 4888 w 10000"/>
              <a:gd name="connsiteY6" fmla="*/ 1227 h 9769"/>
              <a:gd name="connsiteX7" fmla="*/ 4822 w 10000"/>
              <a:gd name="connsiteY7" fmla="*/ 1205 h 9769"/>
              <a:gd name="connsiteX8" fmla="*/ 4785 w 10000"/>
              <a:gd name="connsiteY8" fmla="*/ 1189 h 9769"/>
              <a:gd name="connsiteX9" fmla="*/ 4730 w 10000"/>
              <a:gd name="connsiteY9" fmla="*/ 1166 h 9769"/>
              <a:gd name="connsiteX10" fmla="*/ 4138 w 10000"/>
              <a:gd name="connsiteY10" fmla="*/ 958 h 9769"/>
              <a:gd name="connsiteX11" fmla="*/ 3603 w 10000"/>
              <a:gd name="connsiteY11" fmla="*/ 794 h 9769"/>
              <a:gd name="connsiteX12" fmla="*/ 3178 w 10000"/>
              <a:gd name="connsiteY12" fmla="*/ 694 h 9769"/>
              <a:gd name="connsiteX13" fmla="*/ 3326 w 10000"/>
              <a:gd name="connsiteY13" fmla="*/ 0 h 9769"/>
              <a:gd name="connsiteX14" fmla="*/ 0 w 10000"/>
              <a:gd name="connsiteY14" fmla="*/ 1004 h 9769"/>
              <a:gd name="connsiteX15" fmla="*/ 2697 w 10000"/>
              <a:gd name="connsiteY15" fmla="*/ 2905 h 9769"/>
              <a:gd name="connsiteX16" fmla="*/ 2864 w 10000"/>
              <a:gd name="connsiteY16" fmla="*/ 2140 h 9769"/>
              <a:gd name="connsiteX17" fmla="*/ 3132 w 10000"/>
              <a:gd name="connsiteY17" fmla="*/ 2186 h 9769"/>
              <a:gd name="connsiteX18" fmla="*/ 3594 w 10000"/>
              <a:gd name="connsiteY18" fmla="*/ 2285 h 9769"/>
              <a:gd name="connsiteX19" fmla="*/ 4120 w 10000"/>
              <a:gd name="connsiteY19" fmla="*/ 2424 h 9769"/>
              <a:gd name="connsiteX20" fmla="*/ 4129 w 10000"/>
              <a:gd name="connsiteY20" fmla="*/ 2424 h 9769"/>
              <a:gd name="connsiteX21" fmla="*/ 4138 w 10000"/>
              <a:gd name="connsiteY21" fmla="*/ 2431 h 9769"/>
              <a:gd name="connsiteX22" fmla="*/ 4129 w 10000"/>
              <a:gd name="connsiteY22" fmla="*/ 2424 h 9769"/>
              <a:gd name="connsiteX23" fmla="*/ 4138 w 10000"/>
              <a:gd name="connsiteY23" fmla="*/ 2424 h 9769"/>
              <a:gd name="connsiteX24" fmla="*/ 4176 w 10000"/>
              <a:gd name="connsiteY24" fmla="*/ 2440 h 9769"/>
              <a:gd name="connsiteX25" fmla="*/ 4250 w 10000"/>
              <a:gd name="connsiteY25" fmla="*/ 2463 h 9769"/>
              <a:gd name="connsiteX26" fmla="*/ 4407 w 10000"/>
              <a:gd name="connsiteY26" fmla="*/ 2510 h 9769"/>
              <a:gd name="connsiteX27" fmla="*/ 4693 w 10000"/>
              <a:gd name="connsiteY27" fmla="*/ 2611 h 9769"/>
              <a:gd name="connsiteX28" fmla="*/ 5904 w 10000"/>
              <a:gd name="connsiteY28" fmla="*/ 3134 h 9769"/>
              <a:gd name="connsiteX29" fmla="*/ 7123 w 10000"/>
              <a:gd name="connsiteY29" fmla="*/ 3907 h 9769"/>
              <a:gd name="connsiteX30" fmla="*/ 8203 w 10000"/>
              <a:gd name="connsiteY30" fmla="*/ 4942 h 9769"/>
              <a:gd name="connsiteX31" fmla="*/ 8962 w 10000"/>
              <a:gd name="connsiteY31" fmla="*/ 6202 h 9769"/>
              <a:gd name="connsiteX32" fmla="*/ 9211 w 10000"/>
              <a:gd name="connsiteY32" fmla="*/ 7590 h 9769"/>
              <a:gd name="connsiteX33" fmla="*/ 9100 w 10000"/>
              <a:gd name="connsiteY33" fmla="*/ 8278 h 9769"/>
              <a:gd name="connsiteX34" fmla="*/ 9054 w 10000"/>
              <a:gd name="connsiteY34" fmla="*/ 8441 h 9769"/>
              <a:gd name="connsiteX35" fmla="*/ 8989 w 10000"/>
              <a:gd name="connsiteY35" fmla="*/ 8604 h 9769"/>
              <a:gd name="connsiteX36" fmla="*/ 8971 w 10000"/>
              <a:gd name="connsiteY36" fmla="*/ 8649 h 9769"/>
              <a:gd name="connsiteX37" fmla="*/ 8971 w 10000"/>
              <a:gd name="connsiteY37" fmla="*/ 8657 h 9769"/>
              <a:gd name="connsiteX38" fmla="*/ 8971 w 10000"/>
              <a:gd name="connsiteY38" fmla="*/ 8663 h 9769"/>
              <a:gd name="connsiteX39" fmla="*/ 8971 w 10000"/>
              <a:gd name="connsiteY39" fmla="*/ 8657 h 9769"/>
              <a:gd name="connsiteX40" fmla="*/ 8962 w 10000"/>
              <a:gd name="connsiteY40" fmla="*/ 8678 h 9769"/>
              <a:gd name="connsiteX41" fmla="*/ 8915 w 10000"/>
              <a:gd name="connsiteY41" fmla="*/ 8765 h 9769"/>
              <a:gd name="connsiteX42" fmla="*/ 8841 w 10000"/>
              <a:gd name="connsiteY42" fmla="*/ 8926 h 9769"/>
              <a:gd name="connsiteX43" fmla="*/ 8665 w 10000"/>
              <a:gd name="connsiteY43" fmla="*/ 9219 h 9769"/>
              <a:gd name="connsiteX44" fmla="*/ 8454 w 10000"/>
              <a:gd name="connsiteY44" fmla="*/ 9507 h 9769"/>
              <a:gd name="connsiteX45" fmla="*/ 8223 w 10000"/>
              <a:gd name="connsiteY45" fmla="*/ 9769 h 9769"/>
              <a:gd name="connsiteX46" fmla="*/ 9367 w 10000"/>
              <a:gd name="connsiteY46" fmla="*/ 9136 h 9769"/>
              <a:gd name="connsiteX47" fmla="*/ 9470 w 10000"/>
              <a:gd name="connsiteY47" fmla="*/ 8973 h 9769"/>
              <a:gd name="connsiteX48" fmla="*/ 9516 w 10000"/>
              <a:gd name="connsiteY48" fmla="*/ 8895 h 9769"/>
              <a:gd name="connsiteX49" fmla="*/ 9534 w 10000"/>
              <a:gd name="connsiteY49" fmla="*/ 8872 h 9769"/>
              <a:gd name="connsiteX50" fmla="*/ 9552 w 10000"/>
              <a:gd name="connsiteY50" fmla="*/ 8842 h 9769"/>
              <a:gd name="connsiteX51" fmla="*/ 9571 w 10000"/>
              <a:gd name="connsiteY51" fmla="*/ 8794 h 9769"/>
              <a:gd name="connsiteX52" fmla="*/ 9664 w 10000"/>
              <a:gd name="connsiteY52" fmla="*/ 8618 h 9769"/>
              <a:gd name="connsiteX53" fmla="*/ 9737 w 10000"/>
              <a:gd name="connsiteY53" fmla="*/ 8425 h 9769"/>
              <a:gd name="connsiteX54" fmla="*/ 9959 w 10000"/>
              <a:gd name="connsiteY54" fmla="*/ 7644 h 9769"/>
              <a:gd name="connsiteX55" fmla="*/ 9848 w 10000"/>
              <a:gd name="connsiteY55" fmla="*/ 5999 h 9769"/>
              <a:gd name="connsiteX0" fmla="*/ 9848 w 10000"/>
              <a:gd name="connsiteY0" fmla="*/ 6141 h 9732"/>
              <a:gd name="connsiteX1" fmla="*/ 9136 w 10000"/>
              <a:gd name="connsiteY1" fmla="*/ 4570 h 9732"/>
              <a:gd name="connsiteX2" fmla="*/ 8028 w 10000"/>
              <a:gd name="connsiteY2" fmla="*/ 3250 h 9732"/>
              <a:gd name="connsiteX3" fmla="*/ 6716 w 10000"/>
              <a:gd name="connsiteY3" fmla="*/ 2215 h 9732"/>
              <a:gd name="connsiteX4" fmla="*/ 5359 w 10000"/>
              <a:gd name="connsiteY4" fmla="*/ 1472 h 9732"/>
              <a:gd name="connsiteX5" fmla="*/ 5035 w 10000"/>
              <a:gd name="connsiteY5" fmla="*/ 1321 h 9732"/>
              <a:gd name="connsiteX6" fmla="*/ 4888 w 10000"/>
              <a:gd name="connsiteY6" fmla="*/ 1256 h 9732"/>
              <a:gd name="connsiteX7" fmla="*/ 4822 w 10000"/>
              <a:gd name="connsiteY7" fmla="*/ 1233 h 9732"/>
              <a:gd name="connsiteX8" fmla="*/ 4785 w 10000"/>
              <a:gd name="connsiteY8" fmla="*/ 1217 h 9732"/>
              <a:gd name="connsiteX9" fmla="*/ 4730 w 10000"/>
              <a:gd name="connsiteY9" fmla="*/ 1194 h 9732"/>
              <a:gd name="connsiteX10" fmla="*/ 4138 w 10000"/>
              <a:gd name="connsiteY10" fmla="*/ 981 h 9732"/>
              <a:gd name="connsiteX11" fmla="*/ 3603 w 10000"/>
              <a:gd name="connsiteY11" fmla="*/ 813 h 9732"/>
              <a:gd name="connsiteX12" fmla="*/ 3178 w 10000"/>
              <a:gd name="connsiteY12" fmla="*/ 710 h 9732"/>
              <a:gd name="connsiteX13" fmla="*/ 3326 w 10000"/>
              <a:gd name="connsiteY13" fmla="*/ 0 h 9732"/>
              <a:gd name="connsiteX14" fmla="*/ 0 w 10000"/>
              <a:gd name="connsiteY14" fmla="*/ 1028 h 9732"/>
              <a:gd name="connsiteX15" fmla="*/ 2697 w 10000"/>
              <a:gd name="connsiteY15" fmla="*/ 2974 h 9732"/>
              <a:gd name="connsiteX16" fmla="*/ 2864 w 10000"/>
              <a:gd name="connsiteY16" fmla="*/ 2191 h 9732"/>
              <a:gd name="connsiteX17" fmla="*/ 3132 w 10000"/>
              <a:gd name="connsiteY17" fmla="*/ 2238 h 9732"/>
              <a:gd name="connsiteX18" fmla="*/ 3594 w 10000"/>
              <a:gd name="connsiteY18" fmla="*/ 2339 h 9732"/>
              <a:gd name="connsiteX19" fmla="*/ 4120 w 10000"/>
              <a:gd name="connsiteY19" fmla="*/ 2481 h 9732"/>
              <a:gd name="connsiteX20" fmla="*/ 4129 w 10000"/>
              <a:gd name="connsiteY20" fmla="*/ 2481 h 9732"/>
              <a:gd name="connsiteX21" fmla="*/ 4138 w 10000"/>
              <a:gd name="connsiteY21" fmla="*/ 2488 h 9732"/>
              <a:gd name="connsiteX22" fmla="*/ 4129 w 10000"/>
              <a:gd name="connsiteY22" fmla="*/ 2481 h 9732"/>
              <a:gd name="connsiteX23" fmla="*/ 4138 w 10000"/>
              <a:gd name="connsiteY23" fmla="*/ 2481 h 9732"/>
              <a:gd name="connsiteX24" fmla="*/ 4176 w 10000"/>
              <a:gd name="connsiteY24" fmla="*/ 2498 h 9732"/>
              <a:gd name="connsiteX25" fmla="*/ 4250 w 10000"/>
              <a:gd name="connsiteY25" fmla="*/ 2521 h 9732"/>
              <a:gd name="connsiteX26" fmla="*/ 4407 w 10000"/>
              <a:gd name="connsiteY26" fmla="*/ 2569 h 9732"/>
              <a:gd name="connsiteX27" fmla="*/ 4693 w 10000"/>
              <a:gd name="connsiteY27" fmla="*/ 2673 h 9732"/>
              <a:gd name="connsiteX28" fmla="*/ 5904 w 10000"/>
              <a:gd name="connsiteY28" fmla="*/ 3208 h 9732"/>
              <a:gd name="connsiteX29" fmla="*/ 7123 w 10000"/>
              <a:gd name="connsiteY29" fmla="*/ 3999 h 9732"/>
              <a:gd name="connsiteX30" fmla="*/ 8203 w 10000"/>
              <a:gd name="connsiteY30" fmla="*/ 5059 h 9732"/>
              <a:gd name="connsiteX31" fmla="*/ 8962 w 10000"/>
              <a:gd name="connsiteY31" fmla="*/ 6349 h 9732"/>
              <a:gd name="connsiteX32" fmla="*/ 9211 w 10000"/>
              <a:gd name="connsiteY32" fmla="*/ 7769 h 9732"/>
              <a:gd name="connsiteX33" fmla="*/ 9100 w 10000"/>
              <a:gd name="connsiteY33" fmla="*/ 8474 h 9732"/>
              <a:gd name="connsiteX34" fmla="*/ 9054 w 10000"/>
              <a:gd name="connsiteY34" fmla="*/ 8641 h 9732"/>
              <a:gd name="connsiteX35" fmla="*/ 8989 w 10000"/>
              <a:gd name="connsiteY35" fmla="*/ 8807 h 9732"/>
              <a:gd name="connsiteX36" fmla="*/ 8971 w 10000"/>
              <a:gd name="connsiteY36" fmla="*/ 8854 h 9732"/>
              <a:gd name="connsiteX37" fmla="*/ 8971 w 10000"/>
              <a:gd name="connsiteY37" fmla="*/ 8862 h 9732"/>
              <a:gd name="connsiteX38" fmla="*/ 8971 w 10000"/>
              <a:gd name="connsiteY38" fmla="*/ 8868 h 9732"/>
              <a:gd name="connsiteX39" fmla="*/ 8971 w 10000"/>
              <a:gd name="connsiteY39" fmla="*/ 8862 h 9732"/>
              <a:gd name="connsiteX40" fmla="*/ 8962 w 10000"/>
              <a:gd name="connsiteY40" fmla="*/ 8883 h 9732"/>
              <a:gd name="connsiteX41" fmla="*/ 8915 w 10000"/>
              <a:gd name="connsiteY41" fmla="*/ 8972 h 9732"/>
              <a:gd name="connsiteX42" fmla="*/ 8841 w 10000"/>
              <a:gd name="connsiteY42" fmla="*/ 9137 h 9732"/>
              <a:gd name="connsiteX43" fmla="*/ 8665 w 10000"/>
              <a:gd name="connsiteY43" fmla="*/ 9437 h 9732"/>
              <a:gd name="connsiteX44" fmla="*/ 8454 w 10000"/>
              <a:gd name="connsiteY44" fmla="*/ 9732 h 9732"/>
              <a:gd name="connsiteX45" fmla="*/ 9367 w 10000"/>
              <a:gd name="connsiteY45" fmla="*/ 9352 h 9732"/>
              <a:gd name="connsiteX46" fmla="*/ 9470 w 10000"/>
              <a:gd name="connsiteY46" fmla="*/ 9185 h 9732"/>
              <a:gd name="connsiteX47" fmla="*/ 9516 w 10000"/>
              <a:gd name="connsiteY47" fmla="*/ 9105 h 9732"/>
              <a:gd name="connsiteX48" fmla="*/ 9534 w 10000"/>
              <a:gd name="connsiteY48" fmla="*/ 9082 h 9732"/>
              <a:gd name="connsiteX49" fmla="*/ 9552 w 10000"/>
              <a:gd name="connsiteY49" fmla="*/ 9051 h 9732"/>
              <a:gd name="connsiteX50" fmla="*/ 9571 w 10000"/>
              <a:gd name="connsiteY50" fmla="*/ 9002 h 9732"/>
              <a:gd name="connsiteX51" fmla="*/ 9664 w 10000"/>
              <a:gd name="connsiteY51" fmla="*/ 8822 h 9732"/>
              <a:gd name="connsiteX52" fmla="*/ 9737 w 10000"/>
              <a:gd name="connsiteY52" fmla="*/ 8624 h 9732"/>
              <a:gd name="connsiteX53" fmla="*/ 9959 w 10000"/>
              <a:gd name="connsiteY53" fmla="*/ 7825 h 9732"/>
              <a:gd name="connsiteX54" fmla="*/ 9848 w 10000"/>
              <a:gd name="connsiteY54" fmla="*/ 6141 h 9732"/>
              <a:gd name="connsiteX0" fmla="*/ 9848 w 10000"/>
              <a:gd name="connsiteY0" fmla="*/ 6310 h 9706"/>
              <a:gd name="connsiteX1" fmla="*/ 9136 w 10000"/>
              <a:gd name="connsiteY1" fmla="*/ 4696 h 9706"/>
              <a:gd name="connsiteX2" fmla="*/ 8028 w 10000"/>
              <a:gd name="connsiteY2" fmla="*/ 3339 h 9706"/>
              <a:gd name="connsiteX3" fmla="*/ 6716 w 10000"/>
              <a:gd name="connsiteY3" fmla="*/ 2276 h 9706"/>
              <a:gd name="connsiteX4" fmla="*/ 5359 w 10000"/>
              <a:gd name="connsiteY4" fmla="*/ 1513 h 9706"/>
              <a:gd name="connsiteX5" fmla="*/ 5035 w 10000"/>
              <a:gd name="connsiteY5" fmla="*/ 1357 h 9706"/>
              <a:gd name="connsiteX6" fmla="*/ 4888 w 10000"/>
              <a:gd name="connsiteY6" fmla="*/ 1291 h 9706"/>
              <a:gd name="connsiteX7" fmla="*/ 4822 w 10000"/>
              <a:gd name="connsiteY7" fmla="*/ 1267 h 9706"/>
              <a:gd name="connsiteX8" fmla="*/ 4785 w 10000"/>
              <a:gd name="connsiteY8" fmla="*/ 1251 h 9706"/>
              <a:gd name="connsiteX9" fmla="*/ 4730 w 10000"/>
              <a:gd name="connsiteY9" fmla="*/ 1227 h 9706"/>
              <a:gd name="connsiteX10" fmla="*/ 4138 w 10000"/>
              <a:gd name="connsiteY10" fmla="*/ 1008 h 9706"/>
              <a:gd name="connsiteX11" fmla="*/ 3603 w 10000"/>
              <a:gd name="connsiteY11" fmla="*/ 835 h 9706"/>
              <a:gd name="connsiteX12" fmla="*/ 3178 w 10000"/>
              <a:gd name="connsiteY12" fmla="*/ 730 h 9706"/>
              <a:gd name="connsiteX13" fmla="*/ 3326 w 10000"/>
              <a:gd name="connsiteY13" fmla="*/ 0 h 9706"/>
              <a:gd name="connsiteX14" fmla="*/ 0 w 10000"/>
              <a:gd name="connsiteY14" fmla="*/ 1056 h 9706"/>
              <a:gd name="connsiteX15" fmla="*/ 2697 w 10000"/>
              <a:gd name="connsiteY15" fmla="*/ 3056 h 9706"/>
              <a:gd name="connsiteX16" fmla="*/ 2864 w 10000"/>
              <a:gd name="connsiteY16" fmla="*/ 2251 h 9706"/>
              <a:gd name="connsiteX17" fmla="*/ 3132 w 10000"/>
              <a:gd name="connsiteY17" fmla="*/ 2300 h 9706"/>
              <a:gd name="connsiteX18" fmla="*/ 3594 w 10000"/>
              <a:gd name="connsiteY18" fmla="*/ 2403 h 9706"/>
              <a:gd name="connsiteX19" fmla="*/ 4120 w 10000"/>
              <a:gd name="connsiteY19" fmla="*/ 2549 h 9706"/>
              <a:gd name="connsiteX20" fmla="*/ 4129 w 10000"/>
              <a:gd name="connsiteY20" fmla="*/ 2549 h 9706"/>
              <a:gd name="connsiteX21" fmla="*/ 4138 w 10000"/>
              <a:gd name="connsiteY21" fmla="*/ 2557 h 9706"/>
              <a:gd name="connsiteX22" fmla="*/ 4129 w 10000"/>
              <a:gd name="connsiteY22" fmla="*/ 2549 h 9706"/>
              <a:gd name="connsiteX23" fmla="*/ 4138 w 10000"/>
              <a:gd name="connsiteY23" fmla="*/ 2549 h 9706"/>
              <a:gd name="connsiteX24" fmla="*/ 4176 w 10000"/>
              <a:gd name="connsiteY24" fmla="*/ 2567 h 9706"/>
              <a:gd name="connsiteX25" fmla="*/ 4250 w 10000"/>
              <a:gd name="connsiteY25" fmla="*/ 2590 h 9706"/>
              <a:gd name="connsiteX26" fmla="*/ 4407 w 10000"/>
              <a:gd name="connsiteY26" fmla="*/ 2640 h 9706"/>
              <a:gd name="connsiteX27" fmla="*/ 4693 w 10000"/>
              <a:gd name="connsiteY27" fmla="*/ 2747 h 9706"/>
              <a:gd name="connsiteX28" fmla="*/ 5904 w 10000"/>
              <a:gd name="connsiteY28" fmla="*/ 3296 h 9706"/>
              <a:gd name="connsiteX29" fmla="*/ 7123 w 10000"/>
              <a:gd name="connsiteY29" fmla="*/ 4109 h 9706"/>
              <a:gd name="connsiteX30" fmla="*/ 8203 w 10000"/>
              <a:gd name="connsiteY30" fmla="*/ 5198 h 9706"/>
              <a:gd name="connsiteX31" fmla="*/ 8962 w 10000"/>
              <a:gd name="connsiteY31" fmla="*/ 6524 h 9706"/>
              <a:gd name="connsiteX32" fmla="*/ 9211 w 10000"/>
              <a:gd name="connsiteY32" fmla="*/ 7983 h 9706"/>
              <a:gd name="connsiteX33" fmla="*/ 9100 w 10000"/>
              <a:gd name="connsiteY33" fmla="*/ 8707 h 9706"/>
              <a:gd name="connsiteX34" fmla="*/ 9054 w 10000"/>
              <a:gd name="connsiteY34" fmla="*/ 8879 h 9706"/>
              <a:gd name="connsiteX35" fmla="*/ 8989 w 10000"/>
              <a:gd name="connsiteY35" fmla="*/ 9050 h 9706"/>
              <a:gd name="connsiteX36" fmla="*/ 8971 w 10000"/>
              <a:gd name="connsiteY36" fmla="*/ 9098 h 9706"/>
              <a:gd name="connsiteX37" fmla="*/ 8971 w 10000"/>
              <a:gd name="connsiteY37" fmla="*/ 9106 h 9706"/>
              <a:gd name="connsiteX38" fmla="*/ 8971 w 10000"/>
              <a:gd name="connsiteY38" fmla="*/ 9112 h 9706"/>
              <a:gd name="connsiteX39" fmla="*/ 8971 w 10000"/>
              <a:gd name="connsiteY39" fmla="*/ 9106 h 9706"/>
              <a:gd name="connsiteX40" fmla="*/ 8962 w 10000"/>
              <a:gd name="connsiteY40" fmla="*/ 9128 h 9706"/>
              <a:gd name="connsiteX41" fmla="*/ 8915 w 10000"/>
              <a:gd name="connsiteY41" fmla="*/ 9219 h 9706"/>
              <a:gd name="connsiteX42" fmla="*/ 8841 w 10000"/>
              <a:gd name="connsiteY42" fmla="*/ 9389 h 9706"/>
              <a:gd name="connsiteX43" fmla="*/ 8665 w 10000"/>
              <a:gd name="connsiteY43" fmla="*/ 9697 h 9706"/>
              <a:gd name="connsiteX44" fmla="*/ 9367 w 10000"/>
              <a:gd name="connsiteY44" fmla="*/ 9610 h 9706"/>
              <a:gd name="connsiteX45" fmla="*/ 9470 w 10000"/>
              <a:gd name="connsiteY45" fmla="*/ 9438 h 9706"/>
              <a:gd name="connsiteX46" fmla="*/ 9516 w 10000"/>
              <a:gd name="connsiteY46" fmla="*/ 9356 h 9706"/>
              <a:gd name="connsiteX47" fmla="*/ 9534 w 10000"/>
              <a:gd name="connsiteY47" fmla="*/ 9332 h 9706"/>
              <a:gd name="connsiteX48" fmla="*/ 9552 w 10000"/>
              <a:gd name="connsiteY48" fmla="*/ 9300 h 9706"/>
              <a:gd name="connsiteX49" fmla="*/ 9571 w 10000"/>
              <a:gd name="connsiteY49" fmla="*/ 9250 h 9706"/>
              <a:gd name="connsiteX50" fmla="*/ 9664 w 10000"/>
              <a:gd name="connsiteY50" fmla="*/ 9065 h 9706"/>
              <a:gd name="connsiteX51" fmla="*/ 9737 w 10000"/>
              <a:gd name="connsiteY51" fmla="*/ 8861 h 9706"/>
              <a:gd name="connsiteX52" fmla="*/ 9959 w 10000"/>
              <a:gd name="connsiteY52" fmla="*/ 8040 h 9706"/>
              <a:gd name="connsiteX53" fmla="*/ 9848 w 10000"/>
              <a:gd name="connsiteY53" fmla="*/ 6310 h 9706"/>
              <a:gd name="connsiteX0" fmla="*/ 9848 w 10000"/>
              <a:gd name="connsiteY0" fmla="*/ 6501 h 9901"/>
              <a:gd name="connsiteX1" fmla="*/ 9136 w 10000"/>
              <a:gd name="connsiteY1" fmla="*/ 4838 h 9901"/>
              <a:gd name="connsiteX2" fmla="*/ 8028 w 10000"/>
              <a:gd name="connsiteY2" fmla="*/ 3440 h 9901"/>
              <a:gd name="connsiteX3" fmla="*/ 6716 w 10000"/>
              <a:gd name="connsiteY3" fmla="*/ 2345 h 9901"/>
              <a:gd name="connsiteX4" fmla="*/ 5359 w 10000"/>
              <a:gd name="connsiteY4" fmla="*/ 1559 h 9901"/>
              <a:gd name="connsiteX5" fmla="*/ 5035 w 10000"/>
              <a:gd name="connsiteY5" fmla="*/ 1398 h 9901"/>
              <a:gd name="connsiteX6" fmla="*/ 4888 w 10000"/>
              <a:gd name="connsiteY6" fmla="*/ 1330 h 9901"/>
              <a:gd name="connsiteX7" fmla="*/ 4822 w 10000"/>
              <a:gd name="connsiteY7" fmla="*/ 1305 h 9901"/>
              <a:gd name="connsiteX8" fmla="*/ 4785 w 10000"/>
              <a:gd name="connsiteY8" fmla="*/ 1289 h 9901"/>
              <a:gd name="connsiteX9" fmla="*/ 4730 w 10000"/>
              <a:gd name="connsiteY9" fmla="*/ 1264 h 9901"/>
              <a:gd name="connsiteX10" fmla="*/ 4138 w 10000"/>
              <a:gd name="connsiteY10" fmla="*/ 1039 h 9901"/>
              <a:gd name="connsiteX11" fmla="*/ 3603 w 10000"/>
              <a:gd name="connsiteY11" fmla="*/ 860 h 9901"/>
              <a:gd name="connsiteX12" fmla="*/ 3178 w 10000"/>
              <a:gd name="connsiteY12" fmla="*/ 752 h 9901"/>
              <a:gd name="connsiteX13" fmla="*/ 3326 w 10000"/>
              <a:gd name="connsiteY13" fmla="*/ 0 h 9901"/>
              <a:gd name="connsiteX14" fmla="*/ 0 w 10000"/>
              <a:gd name="connsiteY14" fmla="*/ 1088 h 9901"/>
              <a:gd name="connsiteX15" fmla="*/ 2697 w 10000"/>
              <a:gd name="connsiteY15" fmla="*/ 3149 h 9901"/>
              <a:gd name="connsiteX16" fmla="*/ 2864 w 10000"/>
              <a:gd name="connsiteY16" fmla="*/ 2319 h 9901"/>
              <a:gd name="connsiteX17" fmla="*/ 3132 w 10000"/>
              <a:gd name="connsiteY17" fmla="*/ 2370 h 9901"/>
              <a:gd name="connsiteX18" fmla="*/ 3594 w 10000"/>
              <a:gd name="connsiteY18" fmla="*/ 2476 h 9901"/>
              <a:gd name="connsiteX19" fmla="*/ 4120 w 10000"/>
              <a:gd name="connsiteY19" fmla="*/ 2626 h 9901"/>
              <a:gd name="connsiteX20" fmla="*/ 4129 w 10000"/>
              <a:gd name="connsiteY20" fmla="*/ 2626 h 9901"/>
              <a:gd name="connsiteX21" fmla="*/ 4138 w 10000"/>
              <a:gd name="connsiteY21" fmla="*/ 2634 h 9901"/>
              <a:gd name="connsiteX22" fmla="*/ 4129 w 10000"/>
              <a:gd name="connsiteY22" fmla="*/ 2626 h 9901"/>
              <a:gd name="connsiteX23" fmla="*/ 4138 w 10000"/>
              <a:gd name="connsiteY23" fmla="*/ 2626 h 9901"/>
              <a:gd name="connsiteX24" fmla="*/ 4176 w 10000"/>
              <a:gd name="connsiteY24" fmla="*/ 2645 h 9901"/>
              <a:gd name="connsiteX25" fmla="*/ 4250 w 10000"/>
              <a:gd name="connsiteY25" fmla="*/ 2668 h 9901"/>
              <a:gd name="connsiteX26" fmla="*/ 4407 w 10000"/>
              <a:gd name="connsiteY26" fmla="*/ 2720 h 9901"/>
              <a:gd name="connsiteX27" fmla="*/ 4693 w 10000"/>
              <a:gd name="connsiteY27" fmla="*/ 2830 h 9901"/>
              <a:gd name="connsiteX28" fmla="*/ 5904 w 10000"/>
              <a:gd name="connsiteY28" fmla="*/ 3396 h 9901"/>
              <a:gd name="connsiteX29" fmla="*/ 7123 w 10000"/>
              <a:gd name="connsiteY29" fmla="*/ 4233 h 9901"/>
              <a:gd name="connsiteX30" fmla="*/ 8203 w 10000"/>
              <a:gd name="connsiteY30" fmla="*/ 5355 h 9901"/>
              <a:gd name="connsiteX31" fmla="*/ 8962 w 10000"/>
              <a:gd name="connsiteY31" fmla="*/ 6722 h 9901"/>
              <a:gd name="connsiteX32" fmla="*/ 9211 w 10000"/>
              <a:gd name="connsiteY32" fmla="*/ 8225 h 9901"/>
              <a:gd name="connsiteX33" fmla="*/ 9100 w 10000"/>
              <a:gd name="connsiteY33" fmla="*/ 8971 h 9901"/>
              <a:gd name="connsiteX34" fmla="*/ 9054 w 10000"/>
              <a:gd name="connsiteY34" fmla="*/ 9148 h 9901"/>
              <a:gd name="connsiteX35" fmla="*/ 8989 w 10000"/>
              <a:gd name="connsiteY35" fmla="*/ 9324 h 9901"/>
              <a:gd name="connsiteX36" fmla="*/ 8971 w 10000"/>
              <a:gd name="connsiteY36" fmla="*/ 9374 h 9901"/>
              <a:gd name="connsiteX37" fmla="*/ 8971 w 10000"/>
              <a:gd name="connsiteY37" fmla="*/ 9382 h 9901"/>
              <a:gd name="connsiteX38" fmla="*/ 8971 w 10000"/>
              <a:gd name="connsiteY38" fmla="*/ 9388 h 9901"/>
              <a:gd name="connsiteX39" fmla="*/ 8971 w 10000"/>
              <a:gd name="connsiteY39" fmla="*/ 9382 h 9901"/>
              <a:gd name="connsiteX40" fmla="*/ 8962 w 10000"/>
              <a:gd name="connsiteY40" fmla="*/ 9404 h 9901"/>
              <a:gd name="connsiteX41" fmla="*/ 8915 w 10000"/>
              <a:gd name="connsiteY41" fmla="*/ 9498 h 9901"/>
              <a:gd name="connsiteX42" fmla="*/ 8841 w 10000"/>
              <a:gd name="connsiteY42" fmla="*/ 9673 h 9901"/>
              <a:gd name="connsiteX43" fmla="*/ 9367 w 10000"/>
              <a:gd name="connsiteY43" fmla="*/ 9901 h 9901"/>
              <a:gd name="connsiteX44" fmla="*/ 9470 w 10000"/>
              <a:gd name="connsiteY44" fmla="*/ 9724 h 9901"/>
              <a:gd name="connsiteX45" fmla="*/ 9516 w 10000"/>
              <a:gd name="connsiteY45" fmla="*/ 9639 h 9901"/>
              <a:gd name="connsiteX46" fmla="*/ 9534 w 10000"/>
              <a:gd name="connsiteY46" fmla="*/ 9615 h 9901"/>
              <a:gd name="connsiteX47" fmla="*/ 9552 w 10000"/>
              <a:gd name="connsiteY47" fmla="*/ 9582 h 9901"/>
              <a:gd name="connsiteX48" fmla="*/ 9571 w 10000"/>
              <a:gd name="connsiteY48" fmla="*/ 9530 h 9901"/>
              <a:gd name="connsiteX49" fmla="*/ 9664 w 10000"/>
              <a:gd name="connsiteY49" fmla="*/ 9340 h 9901"/>
              <a:gd name="connsiteX50" fmla="*/ 9737 w 10000"/>
              <a:gd name="connsiteY50" fmla="*/ 9129 h 9901"/>
              <a:gd name="connsiteX51" fmla="*/ 9959 w 10000"/>
              <a:gd name="connsiteY51" fmla="*/ 8284 h 9901"/>
              <a:gd name="connsiteX52" fmla="*/ 9848 w 10000"/>
              <a:gd name="connsiteY52" fmla="*/ 6501 h 9901"/>
              <a:gd name="connsiteX0" fmla="*/ 9848 w 10000"/>
              <a:gd name="connsiteY0" fmla="*/ 6566 h 10000"/>
              <a:gd name="connsiteX1" fmla="*/ 9136 w 10000"/>
              <a:gd name="connsiteY1" fmla="*/ 4886 h 10000"/>
              <a:gd name="connsiteX2" fmla="*/ 8028 w 10000"/>
              <a:gd name="connsiteY2" fmla="*/ 3474 h 10000"/>
              <a:gd name="connsiteX3" fmla="*/ 6716 w 10000"/>
              <a:gd name="connsiteY3" fmla="*/ 2368 h 10000"/>
              <a:gd name="connsiteX4" fmla="*/ 5359 w 10000"/>
              <a:gd name="connsiteY4" fmla="*/ 1575 h 10000"/>
              <a:gd name="connsiteX5" fmla="*/ 5035 w 10000"/>
              <a:gd name="connsiteY5" fmla="*/ 1412 h 10000"/>
              <a:gd name="connsiteX6" fmla="*/ 4888 w 10000"/>
              <a:gd name="connsiteY6" fmla="*/ 1343 h 10000"/>
              <a:gd name="connsiteX7" fmla="*/ 4822 w 10000"/>
              <a:gd name="connsiteY7" fmla="*/ 1318 h 10000"/>
              <a:gd name="connsiteX8" fmla="*/ 4785 w 10000"/>
              <a:gd name="connsiteY8" fmla="*/ 1302 h 10000"/>
              <a:gd name="connsiteX9" fmla="*/ 4730 w 10000"/>
              <a:gd name="connsiteY9" fmla="*/ 1277 h 10000"/>
              <a:gd name="connsiteX10" fmla="*/ 4138 w 10000"/>
              <a:gd name="connsiteY10" fmla="*/ 1049 h 10000"/>
              <a:gd name="connsiteX11" fmla="*/ 3603 w 10000"/>
              <a:gd name="connsiteY11" fmla="*/ 869 h 10000"/>
              <a:gd name="connsiteX12" fmla="*/ 3178 w 10000"/>
              <a:gd name="connsiteY12" fmla="*/ 760 h 10000"/>
              <a:gd name="connsiteX13" fmla="*/ 3326 w 10000"/>
              <a:gd name="connsiteY13" fmla="*/ 0 h 10000"/>
              <a:gd name="connsiteX14" fmla="*/ 0 w 10000"/>
              <a:gd name="connsiteY14" fmla="*/ 1099 h 10000"/>
              <a:gd name="connsiteX15" fmla="*/ 2697 w 10000"/>
              <a:gd name="connsiteY15" fmla="*/ 3180 h 10000"/>
              <a:gd name="connsiteX16" fmla="*/ 2864 w 10000"/>
              <a:gd name="connsiteY16" fmla="*/ 2342 h 10000"/>
              <a:gd name="connsiteX17" fmla="*/ 3132 w 10000"/>
              <a:gd name="connsiteY17" fmla="*/ 2394 h 10000"/>
              <a:gd name="connsiteX18" fmla="*/ 3594 w 10000"/>
              <a:gd name="connsiteY18" fmla="*/ 2501 h 10000"/>
              <a:gd name="connsiteX19" fmla="*/ 4120 w 10000"/>
              <a:gd name="connsiteY19" fmla="*/ 2652 h 10000"/>
              <a:gd name="connsiteX20" fmla="*/ 4129 w 10000"/>
              <a:gd name="connsiteY20" fmla="*/ 2652 h 10000"/>
              <a:gd name="connsiteX21" fmla="*/ 4138 w 10000"/>
              <a:gd name="connsiteY21" fmla="*/ 2660 h 10000"/>
              <a:gd name="connsiteX22" fmla="*/ 4129 w 10000"/>
              <a:gd name="connsiteY22" fmla="*/ 2652 h 10000"/>
              <a:gd name="connsiteX23" fmla="*/ 4138 w 10000"/>
              <a:gd name="connsiteY23" fmla="*/ 2652 h 10000"/>
              <a:gd name="connsiteX24" fmla="*/ 4176 w 10000"/>
              <a:gd name="connsiteY24" fmla="*/ 2671 h 10000"/>
              <a:gd name="connsiteX25" fmla="*/ 4250 w 10000"/>
              <a:gd name="connsiteY25" fmla="*/ 2695 h 10000"/>
              <a:gd name="connsiteX26" fmla="*/ 4407 w 10000"/>
              <a:gd name="connsiteY26" fmla="*/ 2747 h 10000"/>
              <a:gd name="connsiteX27" fmla="*/ 4693 w 10000"/>
              <a:gd name="connsiteY27" fmla="*/ 2858 h 10000"/>
              <a:gd name="connsiteX28" fmla="*/ 5904 w 10000"/>
              <a:gd name="connsiteY28" fmla="*/ 3430 h 10000"/>
              <a:gd name="connsiteX29" fmla="*/ 7123 w 10000"/>
              <a:gd name="connsiteY29" fmla="*/ 4275 h 10000"/>
              <a:gd name="connsiteX30" fmla="*/ 8203 w 10000"/>
              <a:gd name="connsiteY30" fmla="*/ 5409 h 10000"/>
              <a:gd name="connsiteX31" fmla="*/ 8962 w 10000"/>
              <a:gd name="connsiteY31" fmla="*/ 6789 h 10000"/>
              <a:gd name="connsiteX32" fmla="*/ 9211 w 10000"/>
              <a:gd name="connsiteY32" fmla="*/ 8307 h 10000"/>
              <a:gd name="connsiteX33" fmla="*/ 9100 w 10000"/>
              <a:gd name="connsiteY33" fmla="*/ 9061 h 10000"/>
              <a:gd name="connsiteX34" fmla="*/ 9054 w 10000"/>
              <a:gd name="connsiteY34" fmla="*/ 9239 h 10000"/>
              <a:gd name="connsiteX35" fmla="*/ 8989 w 10000"/>
              <a:gd name="connsiteY35" fmla="*/ 9417 h 10000"/>
              <a:gd name="connsiteX36" fmla="*/ 8971 w 10000"/>
              <a:gd name="connsiteY36" fmla="*/ 9468 h 10000"/>
              <a:gd name="connsiteX37" fmla="*/ 8971 w 10000"/>
              <a:gd name="connsiteY37" fmla="*/ 9476 h 10000"/>
              <a:gd name="connsiteX38" fmla="*/ 8971 w 10000"/>
              <a:gd name="connsiteY38" fmla="*/ 9482 h 10000"/>
              <a:gd name="connsiteX39" fmla="*/ 8971 w 10000"/>
              <a:gd name="connsiteY39" fmla="*/ 9476 h 10000"/>
              <a:gd name="connsiteX40" fmla="*/ 8962 w 10000"/>
              <a:gd name="connsiteY40" fmla="*/ 9498 h 10000"/>
              <a:gd name="connsiteX41" fmla="*/ 8915 w 10000"/>
              <a:gd name="connsiteY41" fmla="*/ 9593 h 10000"/>
              <a:gd name="connsiteX42" fmla="*/ 8841 w 10000"/>
              <a:gd name="connsiteY42" fmla="*/ 9770 h 10000"/>
              <a:gd name="connsiteX43" fmla="*/ 9367 w 10000"/>
              <a:gd name="connsiteY43" fmla="*/ 10000 h 10000"/>
              <a:gd name="connsiteX44" fmla="*/ 9516 w 10000"/>
              <a:gd name="connsiteY44" fmla="*/ 9735 h 10000"/>
              <a:gd name="connsiteX45" fmla="*/ 9534 w 10000"/>
              <a:gd name="connsiteY45" fmla="*/ 9711 h 10000"/>
              <a:gd name="connsiteX46" fmla="*/ 9552 w 10000"/>
              <a:gd name="connsiteY46" fmla="*/ 9678 h 10000"/>
              <a:gd name="connsiteX47" fmla="*/ 9571 w 10000"/>
              <a:gd name="connsiteY47" fmla="*/ 9625 h 10000"/>
              <a:gd name="connsiteX48" fmla="*/ 9664 w 10000"/>
              <a:gd name="connsiteY48" fmla="*/ 9433 h 10000"/>
              <a:gd name="connsiteX49" fmla="*/ 9737 w 10000"/>
              <a:gd name="connsiteY49" fmla="*/ 9220 h 10000"/>
              <a:gd name="connsiteX50" fmla="*/ 9959 w 10000"/>
              <a:gd name="connsiteY50" fmla="*/ 8367 h 10000"/>
              <a:gd name="connsiteX51" fmla="*/ 9848 w 10000"/>
              <a:gd name="connsiteY51" fmla="*/ 6566 h 10000"/>
              <a:gd name="connsiteX0" fmla="*/ 9848 w 10000"/>
              <a:gd name="connsiteY0" fmla="*/ 6566 h 10001"/>
              <a:gd name="connsiteX1" fmla="*/ 9136 w 10000"/>
              <a:gd name="connsiteY1" fmla="*/ 4886 h 10001"/>
              <a:gd name="connsiteX2" fmla="*/ 8028 w 10000"/>
              <a:gd name="connsiteY2" fmla="*/ 3474 h 10001"/>
              <a:gd name="connsiteX3" fmla="*/ 6716 w 10000"/>
              <a:gd name="connsiteY3" fmla="*/ 2368 h 10001"/>
              <a:gd name="connsiteX4" fmla="*/ 5359 w 10000"/>
              <a:gd name="connsiteY4" fmla="*/ 1575 h 10001"/>
              <a:gd name="connsiteX5" fmla="*/ 5035 w 10000"/>
              <a:gd name="connsiteY5" fmla="*/ 1412 h 10001"/>
              <a:gd name="connsiteX6" fmla="*/ 4888 w 10000"/>
              <a:gd name="connsiteY6" fmla="*/ 1343 h 10001"/>
              <a:gd name="connsiteX7" fmla="*/ 4822 w 10000"/>
              <a:gd name="connsiteY7" fmla="*/ 1318 h 10001"/>
              <a:gd name="connsiteX8" fmla="*/ 4785 w 10000"/>
              <a:gd name="connsiteY8" fmla="*/ 1302 h 10001"/>
              <a:gd name="connsiteX9" fmla="*/ 4730 w 10000"/>
              <a:gd name="connsiteY9" fmla="*/ 1277 h 10001"/>
              <a:gd name="connsiteX10" fmla="*/ 4138 w 10000"/>
              <a:gd name="connsiteY10" fmla="*/ 1049 h 10001"/>
              <a:gd name="connsiteX11" fmla="*/ 3603 w 10000"/>
              <a:gd name="connsiteY11" fmla="*/ 869 h 10001"/>
              <a:gd name="connsiteX12" fmla="*/ 3178 w 10000"/>
              <a:gd name="connsiteY12" fmla="*/ 760 h 10001"/>
              <a:gd name="connsiteX13" fmla="*/ 3326 w 10000"/>
              <a:gd name="connsiteY13" fmla="*/ 0 h 10001"/>
              <a:gd name="connsiteX14" fmla="*/ 0 w 10000"/>
              <a:gd name="connsiteY14" fmla="*/ 1099 h 10001"/>
              <a:gd name="connsiteX15" fmla="*/ 2697 w 10000"/>
              <a:gd name="connsiteY15" fmla="*/ 3180 h 10001"/>
              <a:gd name="connsiteX16" fmla="*/ 2864 w 10000"/>
              <a:gd name="connsiteY16" fmla="*/ 2342 h 10001"/>
              <a:gd name="connsiteX17" fmla="*/ 3132 w 10000"/>
              <a:gd name="connsiteY17" fmla="*/ 2394 h 10001"/>
              <a:gd name="connsiteX18" fmla="*/ 3594 w 10000"/>
              <a:gd name="connsiteY18" fmla="*/ 2501 h 10001"/>
              <a:gd name="connsiteX19" fmla="*/ 4120 w 10000"/>
              <a:gd name="connsiteY19" fmla="*/ 2652 h 10001"/>
              <a:gd name="connsiteX20" fmla="*/ 4129 w 10000"/>
              <a:gd name="connsiteY20" fmla="*/ 2652 h 10001"/>
              <a:gd name="connsiteX21" fmla="*/ 4138 w 10000"/>
              <a:gd name="connsiteY21" fmla="*/ 2660 h 10001"/>
              <a:gd name="connsiteX22" fmla="*/ 4129 w 10000"/>
              <a:gd name="connsiteY22" fmla="*/ 2652 h 10001"/>
              <a:gd name="connsiteX23" fmla="*/ 4138 w 10000"/>
              <a:gd name="connsiteY23" fmla="*/ 2652 h 10001"/>
              <a:gd name="connsiteX24" fmla="*/ 4176 w 10000"/>
              <a:gd name="connsiteY24" fmla="*/ 2671 h 10001"/>
              <a:gd name="connsiteX25" fmla="*/ 4250 w 10000"/>
              <a:gd name="connsiteY25" fmla="*/ 2695 h 10001"/>
              <a:gd name="connsiteX26" fmla="*/ 4407 w 10000"/>
              <a:gd name="connsiteY26" fmla="*/ 2747 h 10001"/>
              <a:gd name="connsiteX27" fmla="*/ 4693 w 10000"/>
              <a:gd name="connsiteY27" fmla="*/ 2858 h 10001"/>
              <a:gd name="connsiteX28" fmla="*/ 5904 w 10000"/>
              <a:gd name="connsiteY28" fmla="*/ 3430 h 10001"/>
              <a:gd name="connsiteX29" fmla="*/ 7123 w 10000"/>
              <a:gd name="connsiteY29" fmla="*/ 4275 h 10001"/>
              <a:gd name="connsiteX30" fmla="*/ 8203 w 10000"/>
              <a:gd name="connsiteY30" fmla="*/ 5409 h 10001"/>
              <a:gd name="connsiteX31" fmla="*/ 8962 w 10000"/>
              <a:gd name="connsiteY31" fmla="*/ 6789 h 10001"/>
              <a:gd name="connsiteX32" fmla="*/ 9211 w 10000"/>
              <a:gd name="connsiteY32" fmla="*/ 8307 h 10001"/>
              <a:gd name="connsiteX33" fmla="*/ 9100 w 10000"/>
              <a:gd name="connsiteY33" fmla="*/ 9061 h 10001"/>
              <a:gd name="connsiteX34" fmla="*/ 9054 w 10000"/>
              <a:gd name="connsiteY34" fmla="*/ 9239 h 10001"/>
              <a:gd name="connsiteX35" fmla="*/ 8989 w 10000"/>
              <a:gd name="connsiteY35" fmla="*/ 9417 h 10001"/>
              <a:gd name="connsiteX36" fmla="*/ 8971 w 10000"/>
              <a:gd name="connsiteY36" fmla="*/ 9468 h 10001"/>
              <a:gd name="connsiteX37" fmla="*/ 8971 w 10000"/>
              <a:gd name="connsiteY37" fmla="*/ 9476 h 10001"/>
              <a:gd name="connsiteX38" fmla="*/ 8971 w 10000"/>
              <a:gd name="connsiteY38" fmla="*/ 9482 h 10001"/>
              <a:gd name="connsiteX39" fmla="*/ 8971 w 10000"/>
              <a:gd name="connsiteY39" fmla="*/ 9476 h 10001"/>
              <a:gd name="connsiteX40" fmla="*/ 8962 w 10000"/>
              <a:gd name="connsiteY40" fmla="*/ 9498 h 10001"/>
              <a:gd name="connsiteX41" fmla="*/ 8915 w 10000"/>
              <a:gd name="connsiteY41" fmla="*/ 9593 h 10001"/>
              <a:gd name="connsiteX42" fmla="*/ 9367 w 10000"/>
              <a:gd name="connsiteY42" fmla="*/ 10000 h 10001"/>
              <a:gd name="connsiteX43" fmla="*/ 9516 w 10000"/>
              <a:gd name="connsiteY43" fmla="*/ 9735 h 10001"/>
              <a:gd name="connsiteX44" fmla="*/ 9534 w 10000"/>
              <a:gd name="connsiteY44" fmla="*/ 9711 h 10001"/>
              <a:gd name="connsiteX45" fmla="*/ 9552 w 10000"/>
              <a:gd name="connsiteY45" fmla="*/ 9678 h 10001"/>
              <a:gd name="connsiteX46" fmla="*/ 9571 w 10000"/>
              <a:gd name="connsiteY46" fmla="*/ 9625 h 10001"/>
              <a:gd name="connsiteX47" fmla="*/ 9664 w 10000"/>
              <a:gd name="connsiteY47" fmla="*/ 9433 h 10001"/>
              <a:gd name="connsiteX48" fmla="*/ 9737 w 10000"/>
              <a:gd name="connsiteY48" fmla="*/ 9220 h 10001"/>
              <a:gd name="connsiteX49" fmla="*/ 9959 w 10000"/>
              <a:gd name="connsiteY49" fmla="*/ 8367 h 10001"/>
              <a:gd name="connsiteX50" fmla="*/ 9848 w 10000"/>
              <a:gd name="connsiteY50" fmla="*/ 6566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0000" h="10001">
                <a:moveTo>
                  <a:pt x="9848" y="6566"/>
                </a:moveTo>
                <a:cubicBezTo>
                  <a:pt x="9701" y="5977"/>
                  <a:pt x="9451" y="5401"/>
                  <a:pt x="9136" y="4886"/>
                </a:cubicBezTo>
                <a:cubicBezTo>
                  <a:pt x="8823" y="4359"/>
                  <a:pt x="8434" y="3895"/>
                  <a:pt x="8028" y="3474"/>
                </a:cubicBezTo>
                <a:cubicBezTo>
                  <a:pt x="7612" y="3052"/>
                  <a:pt x="7160" y="2678"/>
                  <a:pt x="6716" y="2368"/>
                </a:cubicBezTo>
                <a:cubicBezTo>
                  <a:pt x="6254" y="2053"/>
                  <a:pt x="5811" y="1793"/>
                  <a:pt x="5359" y="1575"/>
                </a:cubicBezTo>
                <a:cubicBezTo>
                  <a:pt x="5247" y="1514"/>
                  <a:pt x="5128" y="1452"/>
                  <a:pt x="5035" y="1412"/>
                </a:cubicBezTo>
                <a:cubicBezTo>
                  <a:pt x="4989" y="1397"/>
                  <a:pt x="4943" y="1368"/>
                  <a:pt x="4888" y="1343"/>
                </a:cubicBezTo>
                <a:cubicBezTo>
                  <a:pt x="4866" y="1333"/>
                  <a:pt x="4844" y="1327"/>
                  <a:pt x="4822" y="1318"/>
                </a:cubicBezTo>
                <a:cubicBezTo>
                  <a:pt x="4810" y="1313"/>
                  <a:pt x="4797" y="1308"/>
                  <a:pt x="4785" y="1302"/>
                </a:cubicBezTo>
                <a:cubicBezTo>
                  <a:pt x="4767" y="1293"/>
                  <a:pt x="4748" y="1286"/>
                  <a:pt x="4730" y="1277"/>
                </a:cubicBezTo>
                <a:cubicBezTo>
                  <a:pt x="4518" y="1200"/>
                  <a:pt x="4323" y="1115"/>
                  <a:pt x="4138" y="1049"/>
                </a:cubicBezTo>
                <a:cubicBezTo>
                  <a:pt x="3945" y="988"/>
                  <a:pt x="3760" y="929"/>
                  <a:pt x="3603" y="869"/>
                </a:cubicBezTo>
                <a:cubicBezTo>
                  <a:pt x="3456" y="827"/>
                  <a:pt x="3307" y="794"/>
                  <a:pt x="3178" y="760"/>
                </a:cubicBezTo>
                <a:cubicBezTo>
                  <a:pt x="3227" y="507"/>
                  <a:pt x="3277" y="251"/>
                  <a:pt x="3326" y="0"/>
                </a:cubicBezTo>
                <a:lnTo>
                  <a:pt x="0" y="1099"/>
                </a:lnTo>
                <a:lnTo>
                  <a:pt x="2697" y="3180"/>
                </a:lnTo>
                <a:cubicBezTo>
                  <a:pt x="2753" y="2901"/>
                  <a:pt x="2808" y="2622"/>
                  <a:pt x="2864" y="2342"/>
                </a:cubicBezTo>
                <a:cubicBezTo>
                  <a:pt x="2947" y="2360"/>
                  <a:pt x="3030" y="2368"/>
                  <a:pt x="3132" y="2394"/>
                </a:cubicBezTo>
                <a:lnTo>
                  <a:pt x="3594" y="2501"/>
                </a:lnTo>
                <a:cubicBezTo>
                  <a:pt x="3760" y="2545"/>
                  <a:pt x="3936" y="2597"/>
                  <a:pt x="4120" y="2652"/>
                </a:cubicBezTo>
                <a:lnTo>
                  <a:pt x="4129" y="2652"/>
                </a:lnTo>
                <a:cubicBezTo>
                  <a:pt x="4132" y="2654"/>
                  <a:pt x="4135" y="2657"/>
                  <a:pt x="4138" y="2660"/>
                </a:cubicBezTo>
                <a:cubicBezTo>
                  <a:pt x="4111" y="2645"/>
                  <a:pt x="4138" y="2652"/>
                  <a:pt x="4129" y="2652"/>
                </a:cubicBezTo>
                <a:lnTo>
                  <a:pt x="4138" y="2652"/>
                </a:lnTo>
                <a:cubicBezTo>
                  <a:pt x="4150" y="2657"/>
                  <a:pt x="4163" y="2665"/>
                  <a:pt x="4176" y="2671"/>
                </a:cubicBezTo>
                <a:lnTo>
                  <a:pt x="4250" y="2695"/>
                </a:lnTo>
                <a:cubicBezTo>
                  <a:pt x="4296" y="2715"/>
                  <a:pt x="4351" y="2730"/>
                  <a:pt x="4407" y="2747"/>
                </a:cubicBezTo>
                <a:cubicBezTo>
                  <a:pt x="4508" y="2789"/>
                  <a:pt x="4591" y="2824"/>
                  <a:pt x="4693" y="2858"/>
                </a:cubicBezTo>
                <a:cubicBezTo>
                  <a:pt x="5072" y="3000"/>
                  <a:pt x="5488" y="3195"/>
                  <a:pt x="5904" y="3430"/>
                </a:cubicBezTo>
                <a:cubicBezTo>
                  <a:pt x="6309" y="3671"/>
                  <a:pt x="6735" y="3946"/>
                  <a:pt x="7123" y="4275"/>
                </a:cubicBezTo>
                <a:cubicBezTo>
                  <a:pt x="7511" y="4614"/>
                  <a:pt x="7889" y="4988"/>
                  <a:pt x="8203" y="5409"/>
                </a:cubicBezTo>
                <a:cubicBezTo>
                  <a:pt x="8518" y="5832"/>
                  <a:pt x="8777" y="6296"/>
                  <a:pt x="8962" y="6789"/>
                </a:cubicBezTo>
                <a:cubicBezTo>
                  <a:pt x="9136" y="7277"/>
                  <a:pt x="9229" y="7793"/>
                  <a:pt x="9211" y="8307"/>
                </a:cubicBezTo>
                <a:cubicBezTo>
                  <a:pt x="9202" y="8563"/>
                  <a:pt x="9155" y="8815"/>
                  <a:pt x="9100" y="9061"/>
                </a:cubicBezTo>
                <a:cubicBezTo>
                  <a:pt x="9085" y="9120"/>
                  <a:pt x="9069" y="9179"/>
                  <a:pt x="9054" y="9239"/>
                </a:cubicBezTo>
                <a:cubicBezTo>
                  <a:pt x="9032" y="9297"/>
                  <a:pt x="9011" y="9357"/>
                  <a:pt x="8989" y="9417"/>
                </a:cubicBezTo>
                <a:cubicBezTo>
                  <a:pt x="8983" y="9433"/>
                  <a:pt x="8977" y="9451"/>
                  <a:pt x="8971" y="9468"/>
                </a:cubicBezTo>
                <a:lnTo>
                  <a:pt x="8971" y="9476"/>
                </a:lnTo>
                <a:lnTo>
                  <a:pt x="8971" y="9482"/>
                </a:lnTo>
                <a:cubicBezTo>
                  <a:pt x="8962" y="9490"/>
                  <a:pt x="8971" y="9476"/>
                  <a:pt x="8971" y="9476"/>
                </a:cubicBezTo>
                <a:cubicBezTo>
                  <a:pt x="8968" y="9483"/>
                  <a:pt x="8965" y="9491"/>
                  <a:pt x="8962" y="9498"/>
                </a:cubicBezTo>
                <a:cubicBezTo>
                  <a:pt x="8947" y="9532"/>
                  <a:pt x="8931" y="9561"/>
                  <a:pt x="8915" y="9593"/>
                </a:cubicBezTo>
                <a:cubicBezTo>
                  <a:pt x="8982" y="9677"/>
                  <a:pt x="9267" y="9976"/>
                  <a:pt x="9367" y="10000"/>
                </a:cubicBezTo>
                <a:cubicBezTo>
                  <a:pt x="9467" y="10024"/>
                  <a:pt x="9488" y="9783"/>
                  <a:pt x="9516" y="9735"/>
                </a:cubicBezTo>
                <a:cubicBezTo>
                  <a:pt x="9544" y="9687"/>
                  <a:pt x="9528" y="9721"/>
                  <a:pt x="9534" y="9711"/>
                </a:cubicBezTo>
                <a:cubicBezTo>
                  <a:pt x="9540" y="9701"/>
                  <a:pt x="9546" y="9689"/>
                  <a:pt x="9552" y="9678"/>
                </a:cubicBezTo>
                <a:cubicBezTo>
                  <a:pt x="9558" y="9661"/>
                  <a:pt x="9565" y="9643"/>
                  <a:pt x="9571" y="9625"/>
                </a:cubicBezTo>
                <a:cubicBezTo>
                  <a:pt x="9602" y="9561"/>
                  <a:pt x="9633" y="9496"/>
                  <a:pt x="9664" y="9433"/>
                </a:cubicBezTo>
                <a:cubicBezTo>
                  <a:pt x="9688" y="9361"/>
                  <a:pt x="9713" y="9291"/>
                  <a:pt x="9737" y="9220"/>
                </a:cubicBezTo>
                <a:cubicBezTo>
                  <a:pt x="9839" y="8952"/>
                  <a:pt x="9922" y="8664"/>
                  <a:pt x="9959" y="8367"/>
                </a:cubicBezTo>
                <a:cubicBezTo>
                  <a:pt x="10042" y="7767"/>
                  <a:pt x="9996" y="7159"/>
                  <a:pt x="9848" y="6566"/>
                </a:cubicBezTo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8753" tIns="49377" rIns="98753" bIns="4937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7552">
              <a:defRPr/>
            </a:pPr>
            <a:endParaRPr lang="fr-FR" sz="1944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5" name="Arrow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7E79DF-C94D-738A-600A-3B8D82D9A7C5}"/>
              </a:ext>
            </a:extLst>
          </p:cNvPr>
          <p:cNvSpPr>
            <a:spLocks noChangeAspect="1"/>
          </p:cNvSpPr>
          <p:nvPr/>
        </p:nvSpPr>
        <p:spPr bwMode="auto">
          <a:xfrm rot="12095829">
            <a:off x="5073961" y="3091518"/>
            <a:ext cx="504872" cy="891947"/>
          </a:xfrm>
          <a:custGeom>
            <a:avLst/>
            <a:gdLst>
              <a:gd name="T0" fmla="*/ 989 w 1087"/>
              <a:gd name="T1" fmla="*/ 578 h 1486"/>
              <a:gd name="T2" fmla="*/ 727 w 1087"/>
              <a:gd name="T3" fmla="*/ 280 h 1486"/>
              <a:gd name="T4" fmla="*/ 545 w 1087"/>
              <a:gd name="T5" fmla="*/ 167 h 1486"/>
              <a:gd name="T6" fmla="*/ 522 w 1087"/>
              <a:gd name="T7" fmla="*/ 156 h 1486"/>
              <a:gd name="T8" fmla="*/ 512 w 1087"/>
              <a:gd name="T9" fmla="*/ 151 h 1486"/>
              <a:gd name="T10" fmla="*/ 390 w 1087"/>
              <a:gd name="T11" fmla="*/ 103 h 1486"/>
              <a:gd name="T12" fmla="*/ 360 w 1087"/>
              <a:gd name="T13" fmla="*/ 0 h 1486"/>
              <a:gd name="T14" fmla="*/ 292 w 1087"/>
              <a:gd name="T15" fmla="*/ 376 h 1486"/>
              <a:gd name="T16" fmla="*/ 339 w 1087"/>
              <a:gd name="T17" fmla="*/ 283 h 1486"/>
              <a:gd name="T18" fmla="*/ 446 w 1087"/>
              <a:gd name="T19" fmla="*/ 314 h 1486"/>
              <a:gd name="T20" fmla="*/ 448 w 1087"/>
              <a:gd name="T21" fmla="*/ 315 h 1486"/>
              <a:gd name="T22" fmla="*/ 448 w 1087"/>
              <a:gd name="T23" fmla="*/ 314 h 1486"/>
              <a:gd name="T24" fmla="*/ 460 w 1087"/>
              <a:gd name="T25" fmla="*/ 319 h 1486"/>
              <a:gd name="T26" fmla="*/ 508 w 1087"/>
              <a:gd name="T27" fmla="*/ 338 h 1486"/>
              <a:gd name="T28" fmla="*/ 771 w 1087"/>
              <a:gd name="T29" fmla="*/ 506 h 1486"/>
              <a:gd name="T30" fmla="*/ 970 w 1087"/>
              <a:gd name="T31" fmla="*/ 803 h 1486"/>
              <a:gd name="T32" fmla="*/ 985 w 1087"/>
              <a:gd name="T33" fmla="*/ 1072 h 1486"/>
              <a:gd name="T34" fmla="*/ 973 w 1087"/>
              <a:gd name="T35" fmla="*/ 1114 h 1486"/>
              <a:gd name="T36" fmla="*/ 971 w 1087"/>
              <a:gd name="T37" fmla="*/ 1121 h 1486"/>
              <a:gd name="T38" fmla="*/ 971 w 1087"/>
              <a:gd name="T39" fmla="*/ 1121 h 1486"/>
              <a:gd name="T40" fmla="*/ 965 w 1087"/>
              <a:gd name="T41" fmla="*/ 1135 h 1486"/>
              <a:gd name="T42" fmla="*/ 938 w 1087"/>
              <a:gd name="T43" fmla="*/ 1194 h 1486"/>
              <a:gd name="T44" fmla="*/ 890 w 1087"/>
              <a:gd name="T45" fmla="*/ 1265 h 1486"/>
              <a:gd name="T46" fmla="*/ 739 w 1087"/>
              <a:gd name="T47" fmla="*/ 1391 h 1486"/>
              <a:gd name="T48" fmla="*/ 564 w 1087"/>
              <a:gd name="T49" fmla="*/ 1462 h 1486"/>
              <a:gd name="T50" fmla="*/ 479 w 1087"/>
              <a:gd name="T51" fmla="*/ 1480 h 1486"/>
              <a:gd name="T52" fmla="*/ 427 w 1087"/>
              <a:gd name="T53" fmla="*/ 1486 h 1486"/>
              <a:gd name="T54" fmla="*/ 480 w 1087"/>
              <a:gd name="T55" fmla="*/ 1485 h 1486"/>
              <a:gd name="T56" fmla="*/ 567 w 1087"/>
              <a:gd name="T57" fmla="*/ 1475 h 1486"/>
              <a:gd name="T58" fmla="*/ 754 w 1087"/>
              <a:gd name="T59" fmla="*/ 1418 h 1486"/>
              <a:gd name="T60" fmla="*/ 1014 w 1087"/>
              <a:gd name="T61" fmla="*/ 1183 h 1486"/>
              <a:gd name="T62" fmla="*/ 1030 w 1087"/>
              <a:gd name="T63" fmla="*/ 1152 h 1486"/>
              <a:gd name="T64" fmla="*/ 1034 w 1087"/>
              <a:gd name="T65" fmla="*/ 1145 h 1486"/>
              <a:gd name="T66" fmla="*/ 1046 w 1087"/>
              <a:gd name="T67" fmla="*/ 1116 h 1486"/>
              <a:gd name="T68" fmla="*/ 1078 w 1087"/>
              <a:gd name="T69" fmla="*/ 990 h 1486"/>
              <a:gd name="connsiteX0" fmla="*/ 9807 w 9958"/>
              <a:gd name="connsiteY0" fmla="*/ 5229 h 10000"/>
              <a:gd name="connsiteX1" fmla="*/ 9098 w 9958"/>
              <a:gd name="connsiteY1" fmla="*/ 3890 h 10000"/>
              <a:gd name="connsiteX2" fmla="*/ 7994 w 9958"/>
              <a:gd name="connsiteY2" fmla="*/ 2766 h 10000"/>
              <a:gd name="connsiteX3" fmla="*/ 6688 w 9958"/>
              <a:gd name="connsiteY3" fmla="*/ 1884 h 10000"/>
              <a:gd name="connsiteX4" fmla="*/ 5336 w 9958"/>
              <a:gd name="connsiteY4" fmla="*/ 1252 h 10000"/>
              <a:gd name="connsiteX5" fmla="*/ 5014 w 9958"/>
              <a:gd name="connsiteY5" fmla="*/ 1124 h 10000"/>
              <a:gd name="connsiteX6" fmla="*/ 4867 w 9958"/>
              <a:gd name="connsiteY6" fmla="*/ 1070 h 10000"/>
              <a:gd name="connsiteX7" fmla="*/ 4802 w 9958"/>
              <a:gd name="connsiteY7" fmla="*/ 1050 h 10000"/>
              <a:gd name="connsiteX8" fmla="*/ 4765 w 9958"/>
              <a:gd name="connsiteY8" fmla="*/ 1036 h 10000"/>
              <a:gd name="connsiteX9" fmla="*/ 4710 w 9958"/>
              <a:gd name="connsiteY9" fmla="*/ 1016 h 10000"/>
              <a:gd name="connsiteX10" fmla="*/ 4121 w 9958"/>
              <a:gd name="connsiteY10" fmla="*/ 834 h 10000"/>
              <a:gd name="connsiteX11" fmla="*/ 3588 w 9958"/>
              <a:gd name="connsiteY11" fmla="*/ 693 h 10000"/>
              <a:gd name="connsiteX12" fmla="*/ 3165 w 9958"/>
              <a:gd name="connsiteY12" fmla="*/ 606 h 10000"/>
              <a:gd name="connsiteX13" fmla="*/ 3312 w 9958"/>
              <a:gd name="connsiteY13" fmla="*/ 0 h 10000"/>
              <a:gd name="connsiteX14" fmla="*/ 0 w 9958"/>
              <a:gd name="connsiteY14" fmla="*/ 875 h 10000"/>
              <a:gd name="connsiteX15" fmla="*/ 2686 w 9958"/>
              <a:gd name="connsiteY15" fmla="*/ 2530 h 10000"/>
              <a:gd name="connsiteX16" fmla="*/ 2852 w 9958"/>
              <a:gd name="connsiteY16" fmla="*/ 1864 h 10000"/>
              <a:gd name="connsiteX17" fmla="*/ 3119 w 9958"/>
              <a:gd name="connsiteY17" fmla="*/ 1904 h 10000"/>
              <a:gd name="connsiteX18" fmla="*/ 3579 w 9958"/>
              <a:gd name="connsiteY18" fmla="*/ 1992 h 10000"/>
              <a:gd name="connsiteX19" fmla="*/ 4103 w 9958"/>
              <a:gd name="connsiteY19" fmla="*/ 2113 h 10000"/>
              <a:gd name="connsiteX20" fmla="*/ 4112 w 9958"/>
              <a:gd name="connsiteY20" fmla="*/ 2113 h 10000"/>
              <a:gd name="connsiteX21" fmla="*/ 4121 w 9958"/>
              <a:gd name="connsiteY21" fmla="*/ 2120 h 10000"/>
              <a:gd name="connsiteX22" fmla="*/ 4112 w 9958"/>
              <a:gd name="connsiteY22" fmla="*/ 2113 h 10000"/>
              <a:gd name="connsiteX23" fmla="*/ 4121 w 9958"/>
              <a:gd name="connsiteY23" fmla="*/ 2113 h 10000"/>
              <a:gd name="connsiteX24" fmla="*/ 4158 w 9958"/>
              <a:gd name="connsiteY24" fmla="*/ 2127 h 10000"/>
              <a:gd name="connsiteX25" fmla="*/ 4232 w 9958"/>
              <a:gd name="connsiteY25" fmla="*/ 2147 h 10000"/>
              <a:gd name="connsiteX26" fmla="*/ 4388 w 9958"/>
              <a:gd name="connsiteY26" fmla="*/ 2187 h 10000"/>
              <a:gd name="connsiteX27" fmla="*/ 4673 w 9958"/>
              <a:gd name="connsiteY27" fmla="*/ 2275 h 10000"/>
              <a:gd name="connsiteX28" fmla="*/ 5879 w 9958"/>
              <a:gd name="connsiteY28" fmla="*/ 2732 h 10000"/>
              <a:gd name="connsiteX29" fmla="*/ 7093 w 9958"/>
              <a:gd name="connsiteY29" fmla="*/ 3405 h 10000"/>
              <a:gd name="connsiteX30" fmla="*/ 8169 w 9958"/>
              <a:gd name="connsiteY30" fmla="*/ 4307 h 10000"/>
              <a:gd name="connsiteX31" fmla="*/ 8924 w 9958"/>
              <a:gd name="connsiteY31" fmla="*/ 5404 h 10000"/>
              <a:gd name="connsiteX32" fmla="*/ 9172 w 9958"/>
              <a:gd name="connsiteY32" fmla="*/ 6615 h 10000"/>
              <a:gd name="connsiteX33" fmla="*/ 9062 w 9958"/>
              <a:gd name="connsiteY33" fmla="*/ 7214 h 10000"/>
              <a:gd name="connsiteX34" fmla="*/ 9016 w 9958"/>
              <a:gd name="connsiteY34" fmla="*/ 7355 h 10000"/>
              <a:gd name="connsiteX35" fmla="*/ 8951 w 9958"/>
              <a:gd name="connsiteY35" fmla="*/ 7497 h 10000"/>
              <a:gd name="connsiteX36" fmla="*/ 8933 w 9958"/>
              <a:gd name="connsiteY36" fmla="*/ 7537 h 10000"/>
              <a:gd name="connsiteX37" fmla="*/ 8933 w 9958"/>
              <a:gd name="connsiteY37" fmla="*/ 7544 h 10000"/>
              <a:gd name="connsiteX38" fmla="*/ 8933 w 9958"/>
              <a:gd name="connsiteY38" fmla="*/ 7550 h 10000"/>
              <a:gd name="connsiteX39" fmla="*/ 8933 w 9958"/>
              <a:gd name="connsiteY39" fmla="*/ 7544 h 10000"/>
              <a:gd name="connsiteX40" fmla="*/ 8924 w 9958"/>
              <a:gd name="connsiteY40" fmla="*/ 7564 h 10000"/>
              <a:gd name="connsiteX41" fmla="*/ 8878 w 9958"/>
              <a:gd name="connsiteY41" fmla="*/ 7638 h 10000"/>
              <a:gd name="connsiteX42" fmla="*/ 8804 w 9958"/>
              <a:gd name="connsiteY42" fmla="*/ 7779 h 10000"/>
              <a:gd name="connsiteX43" fmla="*/ 8629 w 9958"/>
              <a:gd name="connsiteY43" fmla="*/ 8035 h 10000"/>
              <a:gd name="connsiteX44" fmla="*/ 8418 w 9958"/>
              <a:gd name="connsiteY44" fmla="*/ 8284 h 10000"/>
              <a:gd name="connsiteX45" fmla="*/ 8188 w 9958"/>
              <a:gd name="connsiteY45" fmla="*/ 8513 h 10000"/>
              <a:gd name="connsiteX46" fmla="*/ 7930 w 9958"/>
              <a:gd name="connsiteY46" fmla="*/ 8715 h 10000"/>
              <a:gd name="connsiteX47" fmla="*/ 6799 w 9958"/>
              <a:gd name="connsiteY47" fmla="*/ 9361 h 10000"/>
              <a:gd name="connsiteX48" fmla="*/ 5685 w 9958"/>
              <a:gd name="connsiteY48" fmla="*/ 9731 h 10000"/>
              <a:gd name="connsiteX49" fmla="*/ 5189 w 9958"/>
              <a:gd name="connsiteY49" fmla="*/ 9838 h 10000"/>
              <a:gd name="connsiteX50" fmla="*/ 4756 w 9958"/>
              <a:gd name="connsiteY50" fmla="*/ 9913 h 10000"/>
              <a:gd name="connsiteX51" fmla="*/ 4407 w 9958"/>
              <a:gd name="connsiteY51" fmla="*/ 9960 h 10000"/>
              <a:gd name="connsiteX52" fmla="*/ 4149 w 9958"/>
              <a:gd name="connsiteY52" fmla="*/ 9980 h 10000"/>
              <a:gd name="connsiteX53" fmla="*/ 3928 w 9958"/>
              <a:gd name="connsiteY53" fmla="*/ 10000 h 10000"/>
              <a:gd name="connsiteX54" fmla="*/ 4149 w 9958"/>
              <a:gd name="connsiteY54" fmla="*/ 10000 h 10000"/>
              <a:gd name="connsiteX55" fmla="*/ 4416 w 9958"/>
              <a:gd name="connsiteY55" fmla="*/ 9993 h 10000"/>
              <a:gd name="connsiteX56" fmla="*/ 5216 w 9958"/>
              <a:gd name="connsiteY56" fmla="*/ 9926 h 10000"/>
              <a:gd name="connsiteX57" fmla="*/ 5731 w 9958"/>
              <a:gd name="connsiteY57" fmla="*/ 9845 h 10000"/>
              <a:gd name="connsiteX58" fmla="*/ 6937 w 9958"/>
              <a:gd name="connsiteY58" fmla="*/ 9542 h 10000"/>
              <a:gd name="connsiteX59" fmla="*/ 8224 w 9958"/>
              <a:gd name="connsiteY59" fmla="*/ 8943 h 10000"/>
              <a:gd name="connsiteX60" fmla="*/ 9328 w 9958"/>
              <a:gd name="connsiteY60" fmla="*/ 7961 h 10000"/>
              <a:gd name="connsiteX61" fmla="*/ 9430 w 9958"/>
              <a:gd name="connsiteY61" fmla="*/ 7820 h 10000"/>
              <a:gd name="connsiteX62" fmla="*/ 9476 w 9958"/>
              <a:gd name="connsiteY62" fmla="*/ 7752 h 10000"/>
              <a:gd name="connsiteX63" fmla="*/ 9494 w 9958"/>
              <a:gd name="connsiteY63" fmla="*/ 7732 h 10000"/>
              <a:gd name="connsiteX64" fmla="*/ 9512 w 9958"/>
              <a:gd name="connsiteY64" fmla="*/ 7705 h 10000"/>
              <a:gd name="connsiteX65" fmla="*/ 9531 w 9958"/>
              <a:gd name="connsiteY65" fmla="*/ 7665 h 10000"/>
              <a:gd name="connsiteX66" fmla="*/ 9623 w 9958"/>
              <a:gd name="connsiteY66" fmla="*/ 7510 h 10000"/>
              <a:gd name="connsiteX67" fmla="*/ 9696 w 9958"/>
              <a:gd name="connsiteY67" fmla="*/ 7342 h 10000"/>
              <a:gd name="connsiteX68" fmla="*/ 9917 w 9958"/>
              <a:gd name="connsiteY68" fmla="*/ 6662 h 10000"/>
              <a:gd name="connsiteX69" fmla="*/ 9807 w 9958"/>
              <a:gd name="connsiteY69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4435 w 10000"/>
              <a:gd name="connsiteY55" fmla="*/ 9993 h 10000"/>
              <a:gd name="connsiteX56" fmla="*/ 5755 w 10000"/>
              <a:gd name="connsiteY56" fmla="*/ 9845 h 10000"/>
              <a:gd name="connsiteX57" fmla="*/ 6966 w 10000"/>
              <a:gd name="connsiteY57" fmla="*/ 9542 h 10000"/>
              <a:gd name="connsiteX58" fmla="*/ 8259 w 10000"/>
              <a:gd name="connsiteY58" fmla="*/ 8943 h 10000"/>
              <a:gd name="connsiteX59" fmla="*/ 9367 w 10000"/>
              <a:gd name="connsiteY59" fmla="*/ 7961 h 10000"/>
              <a:gd name="connsiteX60" fmla="*/ 9470 w 10000"/>
              <a:gd name="connsiteY60" fmla="*/ 7820 h 10000"/>
              <a:gd name="connsiteX61" fmla="*/ 9516 w 10000"/>
              <a:gd name="connsiteY61" fmla="*/ 7752 h 10000"/>
              <a:gd name="connsiteX62" fmla="*/ 9534 w 10000"/>
              <a:gd name="connsiteY62" fmla="*/ 7732 h 10000"/>
              <a:gd name="connsiteX63" fmla="*/ 9552 w 10000"/>
              <a:gd name="connsiteY63" fmla="*/ 7705 h 10000"/>
              <a:gd name="connsiteX64" fmla="*/ 9571 w 10000"/>
              <a:gd name="connsiteY64" fmla="*/ 7665 h 10000"/>
              <a:gd name="connsiteX65" fmla="*/ 9664 w 10000"/>
              <a:gd name="connsiteY65" fmla="*/ 7510 h 10000"/>
              <a:gd name="connsiteX66" fmla="*/ 9737 w 10000"/>
              <a:gd name="connsiteY66" fmla="*/ 7342 h 10000"/>
              <a:gd name="connsiteX67" fmla="*/ 9959 w 10000"/>
              <a:gd name="connsiteY67" fmla="*/ 6662 h 10000"/>
              <a:gd name="connsiteX68" fmla="*/ 9848 w 10000"/>
              <a:gd name="connsiteY68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5755 w 10000"/>
              <a:gd name="connsiteY55" fmla="*/ 9845 h 10000"/>
              <a:gd name="connsiteX56" fmla="*/ 6966 w 10000"/>
              <a:gd name="connsiteY56" fmla="*/ 9542 h 10000"/>
              <a:gd name="connsiteX57" fmla="*/ 8259 w 10000"/>
              <a:gd name="connsiteY57" fmla="*/ 8943 h 10000"/>
              <a:gd name="connsiteX58" fmla="*/ 9367 w 10000"/>
              <a:gd name="connsiteY58" fmla="*/ 7961 h 10000"/>
              <a:gd name="connsiteX59" fmla="*/ 9470 w 10000"/>
              <a:gd name="connsiteY59" fmla="*/ 7820 h 10000"/>
              <a:gd name="connsiteX60" fmla="*/ 9516 w 10000"/>
              <a:gd name="connsiteY60" fmla="*/ 7752 h 10000"/>
              <a:gd name="connsiteX61" fmla="*/ 9534 w 10000"/>
              <a:gd name="connsiteY61" fmla="*/ 7732 h 10000"/>
              <a:gd name="connsiteX62" fmla="*/ 9552 w 10000"/>
              <a:gd name="connsiteY62" fmla="*/ 7705 h 10000"/>
              <a:gd name="connsiteX63" fmla="*/ 9571 w 10000"/>
              <a:gd name="connsiteY63" fmla="*/ 7665 h 10000"/>
              <a:gd name="connsiteX64" fmla="*/ 9664 w 10000"/>
              <a:gd name="connsiteY64" fmla="*/ 7510 h 10000"/>
              <a:gd name="connsiteX65" fmla="*/ 9737 w 10000"/>
              <a:gd name="connsiteY65" fmla="*/ 7342 h 10000"/>
              <a:gd name="connsiteX66" fmla="*/ 9959 w 10000"/>
              <a:gd name="connsiteY66" fmla="*/ 6662 h 10000"/>
              <a:gd name="connsiteX67" fmla="*/ 9848 w 10000"/>
              <a:gd name="connsiteY67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6966 w 10000"/>
              <a:gd name="connsiteY55" fmla="*/ 9542 h 10000"/>
              <a:gd name="connsiteX56" fmla="*/ 8259 w 10000"/>
              <a:gd name="connsiteY56" fmla="*/ 8943 h 10000"/>
              <a:gd name="connsiteX57" fmla="*/ 9367 w 10000"/>
              <a:gd name="connsiteY57" fmla="*/ 7961 h 10000"/>
              <a:gd name="connsiteX58" fmla="*/ 9470 w 10000"/>
              <a:gd name="connsiteY58" fmla="*/ 7820 h 10000"/>
              <a:gd name="connsiteX59" fmla="*/ 9516 w 10000"/>
              <a:gd name="connsiteY59" fmla="*/ 7752 h 10000"/>
              <a:gd name="connsiteX60" fmla="*/ 9534 w 10000"/>
              <a:gd name="connsiteY60" fmla="*/ 7732 h 10000"/>
              <a:gd name="connsiteX61" fmla="*/ 9552 w 10000"/>
              <a:gd name="connsiteY61" fmla="*/ 7705 h 10000"/>
              <a:gd name="connsiteX62" fmla="*/ 9571 w 10000"/>
              <a:gd name="connsiteY62" fmla="*/ 7665 h 10000"/>
              <a:gd name="connsiteX63" fmla="*/ 9664 w 10000"/>
              <a:gd name="connsiteY63" fmla="*/ 7510 h 10000"/>
              <a:gd name="connsiteX64" fmla="*/ 9737 w 10000"/>
              <a:gd name="connsiteY64" fmla="*/ 7342 h 10000"/>
              <a:gd name="connsiteX65" fmla="*/ 9959 w 10000"/>
              <a:gd name="connsiteY65" fmla="*/ 6662 h 10000"/>
              <a:gd name="connsiteX66" fmla="*/ 9848 w 10000"/>
              <a:gd name="connsiteY66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6966 w 10000"/>
              <a:gd name="connsiteY54" fmla="*/ 9542 h 10000"/>
              <a:gd name="connsiteX55" fmla="*/ 8259 w 10000"/>
              <a:gd name="connsiteY55" fmla="*/ 8943 h 10000"/>
              <a:gd name="connsiteX56" fmla="*/ 9367 w 10000"/>
              <a:gd name="connsiteY56" fmla="*/ 7961 h 10000"/>
              <a:gd name="connsiteX57" fmla="*/ 9470 w 10000"/>
              <a:gd name="connsiteY57" fmla="*/ 7820 h 10000"/>
              <a:gd name="connsiteX58" fmla="*/ 9516 w 10000"/>
              <a:gd name="connsiteY58" fmla="*/ 7752 h 10000"/>
              <a:gd name="connsiteX59" fmla="*/ 9534 w 10000"/>
              <a:gd name="connsiteY59" fmla="*/ 7732 h 10000"/>
              <a:gd name="connsiteX60" fmla="*/ 9552 w 10000"/>
              <a:gd name="connsiteY60" fmla="*/ 7705 h 10000"/>
              <a:gd name="connsiteX61" fmla="*/ 9571 w 10000"/>
              <a:gd name="connsiteY61" fmla="*/ 7665 h 10000"/>
              <a:gd name="connsiteX62" fmla="*/ 9664 w 10000"/>
              <a:gd name="connsiteY62" fmla="*/ 7510 h 10000"/>
              <a:gd name="connsiteX63" fmla="*/ 9737 w 10000"/>
              <a:gd name="connsiteY63" fmla="*/ 7342 h 10000"/>
              <a:gd name="connsiteX64" fmla="*/ 9959 w 10000"/>
              <a:gd name="connsiteY64" fmla="*/ 6662 h 10000"/>
              <a:gd name="connsiteX65" fmla="*/ 9848 w 10000"/>
              <a:gd name="connsiteY65" fmla="*/ 5229 h 10000"/>
              <a:gd name="connsiteX0" fmla="*/ 9848 w 10000"/>
              <a:gd name="connsiteY0" fmla="*/ 5229 h 9980"/>
              <a:gd name="connsiteX1" fmla="*/ 9136 w 10000"/>
              <a:gd name="connsiteY1" fmla="*/ 3890 h 9980"/>
              <a:gd name="connsiteX2" fmla="*/ 8028 w 10000"/>
              <a:gd name="connsiteY2" fmla="*/ 2766 h 9980"/>
              <a:gd name="connsiteX3" fmla="*/ 6716 w 10000"/>
              <a:gd name="connsiteY3" fmla="*/ 1884 h 9980"/>
              <a:gd name="connsiteX4" fmla="*/ 5359 w 10000"/>
              <a:gd name="connsiteY4" fmla="*/ 1252 h 9980"/>
              <a:gd name="connsiteX5" fmla="*/ 5035 w 10000"/>
              <a:gd name="connsiteY5" fmla="*/ 1124 h 9980"/>
              <a:gd name="connsiteX6" fmla="*/ 4888 w 10000"/>
              <a:gd name="connsiteY6" fmla="*/ 1070 h 9980"/>
              <a:gd name="connsiteX7" fmla="*/ 4822 w 10000"/>
              <a:gd name="connsiteY7" fmla="*/ 1050 h 9980"/>
              <a:gd name="connsiteX8" fmla="*/ 4785 w 10000"/>
              <a:gd name="connsiteY8" fmla="*/ 1036 h 9980"/>
              <a:gd name="connsiteX9" fmla="*/ 4730 w 10000"/>
              <a:gd name="connsiteY9" fmla="*/ 1016 h 9980"/>
              <a:gd name="connsiteX10" fmla="*/ 4138 w 10000"/>
              <a:gd name="connsiteY10" fmla="*/ 834 h 9980"/>
              <a:gd name="connsiteX11" fmla="*/ 3603 w 10000"/>
              <a:gd name="connsiteY11" fmla="*/ 693 h 9980"/>
              <a:gd name="connsiteX12" fmla="*/ 3178 w 10000"/>
              <a:gd name="connsiteY12" fmla="*/ 606 h 9980"/>
              <a:gd name="connsiteX13" fmla="*/ 3326 w 10000"/>
              <a:gd name="connsiteY13" fmla="*/ 0 h 9980"/>
              <a:gd name="connsiteX14" fmla="*/ 0 w 10000"/>
              <a:gd name="connsiteY14" fmla="*/ 875 h 9980"/>
              <a:gd name="connsiteX15" fmla="*/ 2697 w 10000"/>
              <a:gd name="connsiteY15" fmla="*/ 2530 h 9980"/>
              <a:gd name="connsiteX16" fmla="*/ 2864 w 10000"/>
              <a:gd name="connsiteY16" fmla="*/ 1864 h 9980"/>
              <a:gd name="connsiteX17" fmla="*/ 3132 w 10000"/>
              <a:gd name="connsiteY17" fmla="*/ 1904 h 9980"/>
              <a:gd name="connsiteX18" fmla="*/ 3594 w 10000"/>
              <a:gd name="connsiteY18" fmla="*/ 1992 h 9980"/>
              <a:gd name="connsiteX19" fmla="*/ 4120 w 10000"/>
              <a:gd name="connsiteY19" fmla="*/ 2113 h 9980"/>
              <a:gd name="connsiteX20" fmla="*/ 4129 w 10000"/>
              <a:gd name="connsiteY20" fmla="*/ 2113 h 9980"/>
              <a:gd name="connsiteX21" fmla="*/ 4138 w 10000"/>
              <a:gd name="connsiteY21" fmla="*/ 2120 h 9980"/>
              <a:gd name="connsiteX22" fmla="*/ 4129 w 10000"/>
              <a:gd name="connsiteY22" fmla="*/ 2113 h 9980"/>
              <a:gd name="connsiteX23" fmla="*/ 4138 w 10000"/>
              <a:gd name="connsiteY23" fmla="*/ 2113 h 9980"/>
              <a:gd name="connsiteX24" fmla="*/ 4176 w 10000"/>
              <a:gd name="connsiteY24" fmla="*/ 2127 h 9980"/>
              <a:gd name="connsiteX25" fmla="*/ 4250 w 10000"/>
              <a:gd name="connsiteY25" fmla="*/ 2147 h 9980"/>
              <a:gd name="connsiteX26" fmla="*/ 4407 w 10000"/>
              <a:gd name="connsiteY26" fmla="*/ 2187 h 9980"/>
              <a:gd name="connsiteX27" fmla="*/ 4693 w 10000"/>
              <a:gd name="connsiteY27" fmla="*/ 2275 h 9980"/>
              <a:gd name="connsiteX28" fmla="*/ 5904 w 10000"/>
              <a:gd name="connsiteY28" fmla="*/ 2732 h 9980"/>
              <a:gd name="connsiteX29" fmla="*/ 7123 w 10000"/>
              <a:gd name="connsiteY29" fmla="*/ 3405 h 9980"/>
              <a:gd name="connsiteX30" fmla="*/ 8203 w 10000"/>
              <a:gd name="connsiteY30" fmla="*/ 4307 h 9980"/>
              <a:gd name="connsiteX31" fmla="*/ 8962 w 10000"/>
              <a:gd name="connsiteY31" fmla="*/ 5404 h 9980"/>
              <a:gd name="connsiteX32" fmla="*/ 9211 w 10000"/>
              <a:gd name="connsiteY32" fmla="*/ 6615 h 9980"/>
              <a:gd name="connsiteX33" fmla="*/ 9100 w 10000"/>
              <a:gd name="connsiteY33" fmla="*/ 7214 h 9980"/>
              <a:gd name="connsiteX34" fmla="*/ 9054 w 10000"/>
              <a:gd name="connsiteY34" fmla="*/ 7355 h 9980"/>
              <a:gd name="connsiteX35" fmla="*/ 8989 w 10000"/>
              <a:gd name="connsiteY35" fmla="*/ 7497 h 9980"/>
              <a:gd name="connsiteX36" fmla="*/ 8971 w 10000"/>
              <a:gd name="connsiteY36" fmla="*/ 7537 h 9980"/>
              <a:gd name="connsiteX37" fmla="*/ 8971 w 10000"/>
              <a:gd name="connsiteY37" fmla="*/ 7544 h 9980"/>
              <a:gd name="connsiteX38" fmla="*/ 8971 w 10000"/>
              <a:gd name="connsiteY38" fmla="*/ 7550 h 9980"/>
              <a:gd name="connsiteX39" fmla="*/ 8971 w 10000"/>
              <a:gd name="connsiteY39" fmla="*/ 7544 h 9980"/>
              <a:gd name="connsiteX40" fmla="*/ 8962 w 10000"/>
              <a:gd name="connsiteY40" fmla="*/ 7564 h 9980"/>
              <a:gd name="connsiteX41" fmla="*/ 8915 w 10000"/>
              <a:gd name="connsiteY41" fmla="*/ 7638 h 9980"/>
              <a:gd name="connsiteX42" fmla="*/ 8841 w 10000"/>
              <a:gd name="connsiteY42" fmla="*/ 7779 h 9980"/>
              <a:gd name="connsiteX43" fmla="*/ 8665 w 10000"/>
              <a:gd name="connsiteY43" fmla="*/ 8035 h 9980"/>
              <a:gd name="connsiteX44" fmla="*/ 8454 w 10000"/>
              <a:gd name="connsiteY44" fmla="*/ 8284 h 9980"/>
              <a:gd name="connsiteX45" fmla="*/ 8223 w 10000"/>
              <a:gd name="connsiteY45" fmla="*/ 8513 h 9980"/>
              <a:gd name="connsiteX46" fmla="*/ 7963 w 10000"/>
              <a:gd name="connsiteY46" fmla="*/ 8715 h 9980"/>
              <a:gd name="connsiteX47" fmla="*/ 6828 w 10000"/>
              <a:gd name="connsiteY47" fmla="*/ 9361 h 9980"/>
              <a:gd name="connsiteX48" fmla="*/ 5709 w 10000"/>
              <a:gd name="connsiteY48" fmla="*/ 9731 h 9980"/>
              <a:gd name="connsiteX49" fmla="*/ 5211 w 10000"/>
              <a:gd name="connsiteY49" fmla="*/ 9838 h 9980"/>
              <a:gd name="connsiteX50" fmla="*/ 4776 w 10000"/>
              <a:gd name="connsiteY50" fmla="*/ 9913 h 9980"/>
              <a:gd name="connsiteX51" fmla="*/ 4426 w 10000"/>
              <a:gd name="connsiteY51" fmla="*/ 9960 h 9980"/>
              <a:gd name="connsiteX52" fmla="*/ 4166 w 10000"/>
              <a:gd name="connsiteY52" fmla="*/ 9980 h 9980"/>
              <a:gd name="connsiteX53" fmla="*/ 6966 w 10000"/>
              <a:gd name="connsiteY53" fmla="*/ 9542 h 9980"/>
              <a:gd name="connsiteX54" fmla="*/ 8259 w 10000"/>
              <a:gd name="connsiteY54" fmla="*/ 8943 h 9980"/>
              <a:gd name="connsiteX55" fmla="*/ 9367 w 10000"/>
              <a:gd name="connsiteY55" fmla="*/ 7961 h 9980"/>
              <a:gd name="connsiteX56" fmla="*/ 9470 w 10000"/>
              <a:gd name="connsiteY56" fmla="*/ 7820 h 9980"/>
              <a:gd name="connsiteX57" fmla="*/ 9516 w 10000"/>
              <a:gd name="connsiteY57" fmla="*/ 7752 h 9980"/>
              <a:gd name="connsiteX58" fmla="*/ 9534 w 10000"/>
              <a:gd name="connsiteY58" fmla="*/ 7732 h 9980"/>
              <a:gd name="connsiteX59" fmla="*/ 9552 w 10000"/>
              <a:gd name="connsiteY59" fmla="*/ 7705 h 9980"/>
              <a:gd name="connsiteX60" fmla="*/ 9571 w 10000"/>
              <a:gd name="connsiteY60" fmla="*/ 7665 h 9980"/>
              <a:gd name="connsiteX61" fmla="*/ 9664 w 10000"/>
              <a:gd name="connsiteY61" fmla="*/ 7510 h 9980"/>
              <a:gd name="connsiteX62" fmla="*/ 9737 w 10000"/>
              <a:gd name="connsiteY62" fmla="*/ 7342 h 9980"/>
              <a:gd name="connsiteX63" fmla="*/ 9959 w 10000"/>
              <a:gd name="connsiteY63" fmla="*/ 6662 h 9980"/>
              <a:gd name="connsiteX64" fmla="*/ 9848 w 10000"/>
              <a:gd name="connsiteY64" fmla="*/ 5229 h 9980"/>
              <a:gd name="connsiteX0" fmla="*/ 9848 w 10000"/>
              <a:gd name="connsiteY0" fmla="*/ 5239 h 10000"/>
              <a:gd name="connsiteX1" fmla="*/ 9136 w 10000"/>
              <a:gd name="connsiteY1" fmla="*/ 3898 h 10000"/>
              <a:gd name="connsiteX2" fmla="*/ 8028 w 10000"/>
              <a:gd name="connsiteY2" fmla="*/ 2772 h 10000"/>
              <a:gd name="connsiteX3" fmla="*/ 6716 w 10000"/>
              <a:gd name="connsiteY3" fmla="*/ 1888 h 10000"/>
              <a:gd name="connsiteX4" fmla="*/ 5359 w 10000"/>
              <a:gd name="connsiteY4" fmla="*/ 1255 h 10000"/>
              <a:gd name="connsiteX5" fmla="*/ 5035 w 10000"/>
              <a:gd name="connsiteY5" fmla="*/ 1126 h 10000"/>
              <a:gd name="connsiteX6" fmla="*/ 4888 w 10000"/>
              <a:gd name="connsiteY6" fmla="*/ 1072 h 10000"/>
              <a:gd name="connsiteX7" fmla="*/ 4822 w 10000"/>
              <a:gd name="connsiteY7" fmla="*/ 1052 h 10000"/>
              <a:gd name="connsiteX8" fmla="*/ 4785 w 10000"/>
              <a:gd name="connsiteY8" fmla="*/ 1038 h 10000"/>
              <a:gd name="connsiteX9" fmla="*/ 4730 w 10000"/>
              <a:gd name="connsiteY9" fmla="*/ 1018 h 10000"/>
              <a:gd name="connsiteX10" fmla="*/ 4138 w 10000"/>
              <a:gd name="connsiteY10" fmla="*/ 836 h 10000"/>
              <a:gd name="connsiteX11" fmla="*/ 3603 w 10000"/>
              <a:gd name="connsiteY11" fmla="*/ 694 h 10000"/>
              <a:gd name="connsiteX12" fmla="*/ 3178 w 10000"/>
              <a:gd name="connsiteY12" fmla="*/ 607 h 10000"/>
              <a:gd name="connsiteX13" fmla="*/ 3326 w 10000"/>
              <a:gd name="connsiteY13" fmla="*/ 0 h 10000"/>
              <a:gd name="connsiteX14" fmla="*/ 0 w 10000"/>
              <a:gd name="connsiteY14" fmla="*/ 877 h 10000"/>
              <a:gd name="connsiteX15" fmla="*/ 2697 w 10000"/>
              <a:gd name="connsiteY15" fmla="*/ 2535 h 10000"/>
              <a:gd name="connsiteX16" fmla="*/ 2864 w 10000"/>
              <a:gd name="connsiteY16" fmla="*/ 1868 h 10000"/>
              <a:gd name="connsiteX17" fmla="*/ 3132 w 10000"/>
              <a:gd name="connsiteY17" fmla="*/ 1908 h 10000"/>
              <a:gd name="connsiteX18" fmla="*/ 3594 w 10000"/>
              <a:gd name="connsiteY18" fmla="*/ 1996 h 10000"/>
              <a:gd name="connsiteX19" fmla="*/ 4120 w 10000"/>
              <a:gd name="connsiteY19" fmla="*/ 2117 h 10000"/>
              <a:gd name="connsiteX20" fmla="*/ 4129 w 10000"/>
              <a:gd name="connsiteY20" fmla="*/ 2117 h 10000"/>
              <a:gd name="connsiteX21" fmla="*/ 4138 w 10000"/>
              <a:gd name="connsiteY21" fmla="*/ 2124 h 10000"/>
              <a:gd name="connsiteX22" fmla="*/ 4129 w 10000"/>
              <a:gd name="connsiteY22" fmla="*/ 2117 h 10000"/>
              <a:gd name="connsiteX23" fmla="*/ 4138 w 10000"/>
              <a:gd name="connsiteY23" fmla="*/ 2117 h 10000"/>
              <a:gd name="connsiteX24" fmla="*/ 4176 w 10000"/>
              <a:gd name="connsiteY24" fmla="*/ 2131 h 10000"/>
              <a:gd name="connsiteX25" fmla="*/ 4250 w 10000"/>
              <a:gd name="connsiteY25" fmla="*/ 2151 h 10000"/>
              <a:gd name="connsiteX26" fmla="*/ 4407 w 10000"/>
              <a:gd name="connsiteY26" fmla="*/ 2191 h 10000"/>
              <a:gd name="connsiteX27" fmla="*/ 4693 w 10000"/>
              <a:gd name="connsiteY27" fmla="*/ 2280 h 10000"/>
              <a:gd name="connsiteX28" fmla="*/ 5904 w 10000"/>
              <a:gd name="connsiteY28" fmla="*/ 2737 h 10000"/>
              <a:gd name="connsiteX29" fmla="*/ 7123 w 10000"/>
              <a:gd name="connsiteY29" fmla="*/ 3412 h 10000"/>
              <a:gd name="connsiteX30" fmla="*/ 8203 w 10000"/>
              <a:gd name="connsiteY30" fmla="*/ 4316 h 10000"/>
              <a:gd name="connsiteX31" fmla="*/ 8962 w 10000"/>
              <a:gd name="connsiteY31" fmla="*/ 5415 h 10000"/>
              <a:gd name="connsiteX32" fmla="*/ 9211 w 10000"/>
              <a:gd name="connsiteY32" fmla="*/ 6628 h 10000"/>
              <a:gd name="connsiteX33" fmla="*/ 9100 w 10000"/>
              <a:gd name="connsiteY33" fmla="*/ 7228 h 10000"/>
              <a:gd name="connsiteX34" fmla="*/ 9054 w 10000"/>
              <a:gd name="connsiteY34" fmla="*/ 7370 h 10000"/>
              <a:gd name="connsiteX35" fmla="*/ 8989 w 10000"/>
              <a:gd name="connsiteY35" fmla="*/ 7512 h 10000"/>
              <a:gd name="connsiteX36" fmla="*/ 8971 w 10000"/>
              <a:gd name="connsiteY36" fmla="*/ 7552 h 10000"/>
              <a:gd name="connsiteX37" fmla="*/ 8971 w 10000"/>
              <a:gd name="connsiteY37" fmla="*/ 7559 h 10000"/>
              <a:gd name="connsiteX38" fmla="*/ 8971 w 10000"/>
              <a:gd name="connsiteY38" fmla="*/ 7565 h 10000"/>
              <a:gd name="connsiteX39" fmla="*/ 8971 w 10000"/>
              <a:gd name="connsiteY39" fmla="*/ 7559 h 10000"/>
              <a:gd name="connsiteX40" fmla="*/ 8962 w 10000"/>
              <a:gd name="connsiteY40" fmla="*/ 7579 h 10000"/>
              <a:gd name="connsiteX41" fmla="*/ 8915 w 10000"/>
              <a:gd name="connsiteY41" fmla="*/ 7653 h 10000"/>
              <a:gd name="connsiteX42" fmla="*/ 8841 w 10000"/>
              <a:gd name="connsiteY42" fmla="*/ 7795 h 10000"/>
              <a:gd name="connsiteX43" fmla="*/ 8665 w 10000"/>
              <a:gd name="connsiteY43" fmla="*/ 8051 h 10000"/>
              <a:gd name="connsiteX44" fmla="*/ 8454 w 10000"/>
              <a:gd name="connsiteY44" fmla="*/ 8301 h 10000"/>
              <a:gd name="connsiteX45" fmla="*/ 8223 w 10000"/>
              <a:gd name="connsiteY45" fmla="*/ 8530 h 10000"/>
              <a:gd name="connsiteX46" fmla="*/ 7963 w 10000"/>
              <a:gd name="connsiteY46" fmla="*/ 8732 h 10000"/>
              <a:gd name="connsiteX47" fmla="*/ 6828 w 10000"/>
              <a:gd name="connsiteY47" fmla="*/ 9380 h 10000"/>
              <a:gd name="connsiteX48" fmla="*/ 5709 w 10000"/>
              <a:gd name="connsiteY48" fmla="*/ 9751 h 10000"/>
              <a:gd name="connsiteX49" fmla="*/ 5211 w 10000"/>
              <a:gd name="connsiteY49" fmla="*/ 9858 h 10000"/>
              <a:gd name="connsiteX50" fmla="*/ 4776 w 10000"/>
              <a:gd name="connsiteY50" fmla="*/ 9933 h 10000"/>
              <a:gd name="connsiteX51" fmla="*/ 4426 w 10000"/>
              <a:gd name="connsiteY51" fmla="*/ 9980 h 10000"/>
              <a:gd name="connsiteX52" fmla="*/ 6966 w 10000"/>
              <a:gd name="connsiteY52" fmla="*/ 9561 h 10000"/>
              <a:gd name="connsiteX53" fmla="*/ 8259 w 10000"/>
              <a:gd name="connsiteY53" fmla="*/ 8961 h 10000"/>
              <a:gd name="connsiteX54" fmla="*/ 9367 w 10000"/>
              <a:gd name="connsiteY54" fmla="*/ 7977 h 10000"/>
              <a:gd name="connsiteX55" fmla="*/ 9470 w 10000"/>
              <a:gd name="connsiteY55" fmla="*/ 7836 h 10000"/>
              <a:gd name="connsiteX56" fmla="*/ 9516 w 10000"/>
              <a:gd name="connsiteY56" fmla="*/ 7768 h 10000"/>
              <a:gd name="connsiteX57" fmla="*/ 9534 w 10000"/>
              <a:gd name="connsiteY57" fmla="*/ 7747 h 10000"/>
              <a:gd name="connsiteX58" fmla="*/ 9552 w 10000"/>
              <a:gd name="connsiteY58" fmla="*/ 7720 h 10000"/>
              <a:gd name="connsiteX59" fmla="*/ 9571 w 10000"/>
              <a:gd name="connsiteY59" fmla="*/ 7680 h 10000"/>
              <a:gd name="connsiteX60" fmla="*/ 9664 w 10000"/>
              <a:gd name="connsiteY60" fmla="*/ 7525 h 10000"/>
              <a:gd name="connsiteX61" fmla="*/ 9737 w 10000"/>
              <a:gd name="connsiteY61" fmla="*/ 7357 h 10000"/>
              <a:gd name="connsiteX62" fmla="*/ 9959 w 10000"/>
              <a:gd name="connsiteY62" fmla="*/ 6675 h 10000"/>
              <a:gd name="connsiteX63" fmla="*/ 9848 w 10000"/>
              <a:gd name="connsiteY63" fmla="*/ 5239 h 10000"/>
              <a:gd name="connsiteX0" fmla="*/ 9848 w 10000"/>
              <a:gd name="connsiteY0" fmla="*/ 5239 h 9933"/>
              <a:gd name="connsiteX1" fmla="*/ 9136 w 10000"/>
              <a:gd name="connsiteY1" fmla="*/ 3898 h 9933"/>
              <a:gd name="connsiteX2" fmla="*/ 8028 w 10000"/>
              <a:gd name="connsiteY2" fmla="*/ 2772 h 9933"/>
              <a:gd name="connsiteX3" fmla="*/ 6716 w 10000"/>
              <a:gd name="connsiteY3" fmla="*/ 1888 h 9933"/>
              <a:gd name="connsiteX4" fmla="*/ 5359 w 10000"/>
              <a:gd name="connsiteY4" fmla="*/ 1255 h 9933"/>
              <a:gd name="connsiteX5" fmla="*/ 5035 w 10000"/>
              <a:gd name="connsiteY5" fmla="*/ 1126 h 9933"/>
              <a:gd name="connsiteX6" fmla="*/ 4888 w 10000"/>
              <a:gd name="connsiteY6" fmla="*/ 1072 h 9933"/>
              <a:gd name="connsiteX7" fmla="*/ 4822 w 10000"/>
              <a:gd name="connsiteY7" fmla="*/ 1052 h 9933"/>
              <a:gd name="connsiteX8" fmla="*/ 4785 w 10000"/>
              <a:gd name="connsiteY8" fmla="*/ 1038 h 9933"/>
              <a:gd name="connsiteX9" fmla="*/ 4730 w 10000"/>
              <a:gd name="connsiteY9" fmla="*/ 1018 h 9933"/>
              <a:gd name="connsiteX10" fmla="*/ 4138 w 10000"/>
              <a:gd name="connsiteY10" fmla="*/ 836 h 9933"/>
              <a:gd name="connsiteX11" fmla="*/ 3603 w 10000"/>
              <a:gd name="connsiteY11" fmla="*/ 694 h 9933"/>
              <a:gd name="connsiteX12" fmla="*/ 3178 w 10000"/>
              <a:gd name="connsiteY12" fmla="*/ 607 h 9933"/>
              <a:gd name="connsiteX13" fmla="*/ 3326 w 10000"/>
              <a:gd name="connsiteY13" fmla="*/ 0 h 9933"/>
              <a:gd name="connsiteX14" fmla="*/ 0 w 10000"/>
              <a:gd name="connsiteY14" fmla="*/ 877 h 9933"/>
              <a:gd name="connsiteX15" fmla="*/ 2697 w 10000"/>
              <a:gd name="connsiteY15" fmla="*/ 2535 h 9933"/>
              <a:gd name="connsiteX16" fmla="*/ 2864 w 10000"/>
              <a:gd name="connsiteY16" fmla="*/ 1868 h 9933"/>
              <a:gd name="connsiteX17" fmla="*/ 3132 w 10000"/>
              <a:gd name="connsiteY17" fmla="*/ 1908 h 9933"/>
              <a:gd name="connsiteX18" fmla="*/ 3594 w 10000"/>
              <a:gd name="connsiteY18" fmla="*/ 1996 h 9933"/>
              <a:gd name="connsiteX19" fmla="*/ 4120 w 10000"/>
              <a:gd name="connsiteY19" fmla="*/ 2117 h 9933"/>
              <a:gd name="connsiteX20" fmla="*/ 4129 w 10000"/>
              <a:gd name="connsiteY20" fmla="*/ 2117 h 9933"/>
              <a:gd name="connsiteX21" fmla="*/ 4138 w 10000"/>
              <a:gd name="connsiteY21" fmla="*/ 2124 h 9933"/>
              <a:gd name="connsiteX22" fmla="*/ 4129 w 10000"/>
              <a:gd name="connsiteY22" fmla="*/ 2117 h 9933"/>
              <a:gd name="connsiteX23" fmla="*/ 4138 w 10000"/>
              <a:gd name="connsiteY23" fmla="*/ 2117 h 9933"/>
              <a:gd name="connsiteX24" fmla="*/ 4176 w 10000"/>
              <a:gd name="connsiteY24" fmla="*/ 2131 h 9933"/>
              <a:gd name="connsiteX25" fmla="*/ 4250 w 10000"/>
              <a:gd name="connsiteY25" fmla="*/ 2151 h 9933"/>
              <a:gd name="connsiteX26" fmla="*/ 4407 w 10000"/>
              <a:gd name="connsiteY26" fmla="*/ 2191 h 9933"/>
              <a:gd name="connsiteX27" fmla="*/ 4693 w 10000"/>
              <a:gd name="connsiteY27" fmla="*/ 2280 h 9933"/>
              <a:gd name="connsiteX28" fmla="*/ 5904 w 10000"/>
              <a:gd name="connsiteY28" fmla="*/ 2737 h 9933"/>
              <a:gd name="connsiteX29" fmla="*/ 7123 w 10000"/>
              <a:gd name="connsiteY29" fmla="*/ 3412 h 9933"/>
              <a:gd name="connsiteX30" fmla="*/ 8203 w 10000"/>
              <a:gd name="connsiteY30" fmla="*/ 4316 h 9933"/>
              <a:gd name="connsiteX31" fmla="*/ 8962 w 10000"/>
              <a:gd name="connsiteY31" fmla="*/ 5415 h 9933"/>
              <a:gd name="connsiteX32" fmla="*/ 9211 w 10000"/>
              <a:gd name="connsiteY32" fmla="*/ 6628 h 9933"/>
              <a:gd name="connsiteX33" fmla="*/ 9100 w 10000"/>
              <a:gd name="connsiteY33" fmla="*/ 7228 h 9933"/>
              <a:gd name="connsiteX34" fmla="*/ 9054 w 10000"/>
              <a:gd name="connsiteY34" fmla="*/ 7370 h 9933"/>
              <a:gd name="connsiteX35" fmla="*/ 8989 w 10000"/>
              <a:gd name="connsiteY35" fmla="*/ 7512 h 9933"/>
              <a:gd name="connsiteX36" fmla="*/ 8971 w 10000"/>
              <a:gd name="connsiteY36" fmla="*/ 7552 h 9933"/>
              <a:gd name="connsiteX37" fmla="*/ 8971 w 10000"/>
              <a:gd name="connsiteY37" fmla="*/ 7559 h 9933"/>
              <a:gd name="connsiteX38" fmla="*/ 8971 w 10000"/>
              <a:gd name="connsiteY38" fmla="*/ 7565 h 9933"/>
              <a:gd name="connsiteX39" fmla="*/ 8971 w 10000"/>
              <a:gd name="connsiteY39" fmla="*/ 7559 h 9933"/>
              <a:gd name="connsiteX40" fmla="*/ 8962 w 10000"/>
              <a:gd name="connsiteY40" fmla="*/ 7579 h 9933"/>
              <a:gd name="connsiteX41" fmla="*/ 8915 w 10000"/>
              <a:gd name="connsiteY41" fmla="*/ 7653 h 9933"/>
              <a:gd name="connsiteX42" fmla="*/ 8841 w 10000"/>
              <a:gd name="connsiteY42" fmla="*/ 7795 h 9933"/>
              <a:gd name="connsiteX43" fmla="*/ 8665 w 10000"/>
              <a:gd name="connsiteY43" fmla="*/ 8051 h 9933"/>
              <a:gd name="connsiteX44" fmla="*/ 8454 w 10000"/>
              <a:gd name="connsiteY44" fmla="*/ 8301 h 9933"/>
              <a:gd name="connsiteX45" fmla="*/ 8223 w 10000"/>
              <a:gd name="connsiteY45" fmla="*/ 8530 h 9933"/>
              <a:gd name="connsiteX46" fmla="*/ 7963 w 10000"/>
              <a:gd name="connsiteY46" fmla="*/ 8732 h 9933"/>
              <a:gd name="connsiteX47" fmla="*/ 6828 w 10000"/>
              <a:gd name="connsiteY47" fmla="*/ 9380 h 9933"/>
              <a:gd name="connsiteX48" fmla="*/ 5709 w 10000"/>
              <a:gd name="connsiteY48" fmla="*/ 9751 h 9933"/>
              <a:gd name="connsiteX49" fmla="*/ 5211 w 10000"/>
              <a:gd name="connsiteY49" fmla="*/ 9858 h 9933"/>
              <a:gd name="connsiteX50" fmla="*/ 4776 w 10000"/>
              <a:gd name="connsiteY50" fmla="*/ 9933 h 9933"/>
              <a:gd name="connsiteX51" fmla="*/ 6966 w 10000"/>
              <a:gd name="connsiteY51" fmla="*/ 9561 h 9933"/>
              <a:gd name="connsiteX52" fmla="*/ 8259 w 10000"/>
              <a:gd name="connsiteY52" fmla="*/ 8961 h 9933"/>
              <a:gd name="connsiteX53" fmla="*/ 9367 w 10000"/>
              <a:gd name="connsiteY53" fmla="*/ 7977 h 9933"/>
              <a:gd name="connsiteX54" fmla="*/ 9470 w 10000"/>
              <a:gd name="connsiteY54" fmla="*/ 7836 h 9933"/>
              <a:gd name="connsiteX55" fmla="*/ 9516 w 10000"/>
              <a:gd name="connsiteY55" fmla="*/ 7768 h 9933"/>
              <a:gd name="connsiteX56" fmla="*/ 9534 w 10000"/>
              <a:gd name="connsiteY56" fmla="*/ 7747 h 9933"/>
              <a:gd name="connsiteX57" fmla="*/ 9552 w 10000"/>
              <a:gd name="connsiteY57" fmla="*/ 7720 h 9933"/>
              <a:gd name="connsiteX58" fmla="*/ 9571 w 10000"/>
              <a:gd name="connsiteY58" fmla="*/ 7680 h 9933"/>
              <a:gd name="connsiteX59" fmla="*/ 9664 w 10000"/>
              <a:gd name="connsiteY59" fmla="*/ 7525 h 9933"/>
              <a:gd name="connsiteX60" fmla="*/ 9737 w 10000"/>
              <a:gd name="connsiteY60" fmla="*/ 7357 h 9933"/>
              <a:gd name="connsiteX61" fmla="*/ 9959 w 10000"/>
              <a:gd name="connsiteY61" fmla="*/ 6675 h 9933"/>
              <a:gd name="connsiteX62" fmla="*/ 9848 w 10000"/>
              <a:gd name="connsiteY62" fmla="*/ 5239 h 9933"/>
              <a:gd name="connsiteX0" fmla="*/ 9848 w 10000"/>
              <a:gd name="connsiteY0" fmla="*/ 5274 h 9924"/>
              <a:gd name="connsiteX1" fmla="*/ 9136 w 10000"/>
              <a:gd name="connsiteY1" fmla="*/ 3924 h 9924"/>
              <a:gd name="connsiteX2" fmla="*/ 8028 w 10000"/>
              <a:gd name="connsiteY2" fmla="*/ 2791 h 9924"/>
              <a:gd name="connsiteX3" fmla="*/ 6716 w 10000"/>
              <a:gd name="connsiteY3" fmla="*/ 1901 h 9924"/>
              <a:gd name="connsiteX4" fmla="*/ 5359 w 10000"/>
              <a:gd name="connsiteY4" fmla="*/ 1263 h 9924"/>
              <a:gd name="connsiteX5" fmla="*/ 5035 w 10000"/>
              <a:gd name="connsiteY5" fmla="*/ 1134 h 9924"/>
              <a:gd name="connsiteX6" fmla="*/ 4888 w 10000"/>
              <a:gd name="connsiteY6" fmla="*/ 1079 h 9924"/>
              <a:gd name="connsiteX7" fmla="*/ 4822 w 10000"/>
              <a:gd name="connsiteY7" fmla="*/ 1059 h 9924"/>
              <a:gd name="connsiteX8" fmla="*/ 4785 w 10000"/>
              <a:gd name="connsiteY8" fmla="*/ 1045 h 9924"/>
              <a:gd name="connsiteX9" fmla="*/ 4730 w 10000"/>
              <a:gd name="connsiteY9" fmla="*/ 1025 h 9924"/>
              <a:gd name="connsiteX10" fmla="*/ 4138 w 10000"/>
              <a:gd name="connsiteY10" fmla="*/ 842 h 9924"/>
              <a:gd name="connsiteX11" fmla="*/ 3603 w 10000"/>
              <a:gd name="connsiteY11" fmla="*/ 699 h 9924"/>
              <a:gd name="connsiteX12" fmla="*/ 3178 w 10000"/>
              <a:gd name="connsiteY12" fmla="*/ 611 h 9924"/>
              <a:gd name="connsiteX13" fmla="*/ 3326 w 10000"/>
              <a:gd name="connsiteY13" fmla="*/ 0 h 9924"/>
              <a:gd name="connsiteX14" fmla="*/ 0 w 10000"/>
              <a:gd name="connsiteY14" fmla="*/ 883 h 9924"/>
              <a:gd name="connsiteX15" fmla="*/ 2697 w 10000"/>
              <a:gd name="connsiteY15" fmla="*/ 2552 h 9924"/>
              <a:gd name="connsiteX16" fmla="*/ 2864 w 10000"/>
              <a:gd name="connsiteY16" fmla="*/ 1881 h 9924"/>
              <a:gd name="connsiteX17" fmla="*/ 3132 w 10000"/>
              <a:gd name="connsiteY17" fmla="*/ 1921 h 9924"/>
              <a:gd name="connsiteX18" fmla="*/ 3594 w 10000"/>
              <a:gd name="connsiteY18" fmla="*/ 2009 h 9924"/>
              <a:gd name="connsiteX19" fmla="*/ 4120 w 10000"/>
              <a:gd name="connsiteY19" fmla="*/ 2131 h 9924"/>
              <a:gd name="connsiteX20" fmla="*/ 4129 w 10000"/>
              <a:gd name="connsiteY20" fmla="*/ 2131 h 9924"/>
              <a:gd name="connsiteX21" fmla="*/ 4138 w 10000"/>
              <a:gd name="connsiteY21" fmla="*/ 2138 h 9924"/>
              <a:gd name="connsiteX22" fmla="*/ 4129 w 10000"/>
              <a:gd name="connsiteY22" fmla="*/ 2131 h 9924"/>
              <a:gd name="connsiteX23" fmla="*/ 4138 w 10000"/>
              <a:gd name="connsiteY23" fmla="*/ 2131 h 9924"/>
              <a:gd name="connsiteX24" fmla="*/ 4176 w 10000"/>
              <a:gd name="connsiteY24" fmla="*/ 2145 h 9924"/>
              <a:gd name="connsiteX25" fmla="*/ 4250 w 10000"/>
              <a:gd name="connsiteY25" fmla="*/ 2166 h 9924"/>
              <a:gd name="connsiteX26" fmla="*/ 4407 w 10000"/>
              <a:gd name="connsiteY26" fmla="*/ 2206 h 9924"/>
              <a:gd name="connsiteX27" fmla="*/ 4693 w 10000"/>
              <a:gd name="connsiteY27" fmla="*/ 2295 h 9924"/>
              <a:gd name="connsiteX28" fmla="*/ 5904 w 10000"/>
              <a:gd name="connsiteY28" fmla="*/ 2755 h 9924"/>
              <a:gd name="connsiteX29" fmla="*/ 7123 w 10000"/>
              <a:gd name="connsiteY29" fmla="*/ 3435 h 9924"/>
              <a:gd name="connsiteX30" fmla="*/ 8203 w 10000"/>
              <a:gd name="connsiteY30" fmla="*/ 4345 h 9924"/>
              <a:gd name="connsiteX31" fmla="*/ 8962 w 10000"/>
              <a:gd name="connsiteY31" fmla="*/ 5452 h 9924"/>
              <a:gd name="connsiteX32" fmla="*/ 9211 w 10000"/>
              <a:gd name="connsiteY32" fmla="*/ 6673 h 9924"/>
              <a:gd name="connsiteX33" fmla="*/ 9100 w 10000"/>
              <a:gd name="connsiteY33" fmla="*/ 7277 h 9924"/>
              <a:gd name="connsiteX34" fmla="*/ 9054 w 10000"/>
              <a:gd name="connsiteY34" fmla="*/ 7420 h 9924"/>
              <a:gd name="connsiteX35" fmla="*/ 8989 w 10000"/>
              <a:gd name="connsiteY35" fmla="*/ 7563 h 9924"/>
              <a:gd name="connsiteX36" fmla="*/ 8971 w 10000"/>
              <a:gd name="connsiteY36" fmla="*/ 7603 h 9924"/>
              <a:gd name="connsiteX37" fmla="*/ 8971 w 10000"/>
              <a:gd name="connsiteY37" fmla="*/ 7610 h 9924"/>
              <a:gd name="connsiteX38" fmla="*/ 8971 w 10000"/>
              <a:gd name="connsiteY38" fmla="*/ 7616 h 9924"/>
              <a:gd name="connsiteX39" fmla="*/ 8971 w 10000"/>
              <a:gd name="connsiteY39" fmla="*/ 7610 h 9924"/>
              <a:gd name="connsiteX40" fmla="*/ 8962 w 10000"/>
              <a:gd name="connsiteY40" fmla="*/ 7630 h 9924"/>
              <a:gd name="connsiteX41" fmla="*/ 8915 w 10000"/>
              <a:gd name="connsiteY41" fmla="*/ 7705 h 9924"/>
              <a:gd name="connsiteX42" fmla="*/ 8841 w 10000"/>
              <a:gd name="connsiteY42" fmla="*/ 7848 h 9924"/>
              <a:gd name="connsiteX43" fmla="*/ 8665 w 10000"/>
              <a:gd name="connsiteY43" fmla="*/ 8105 h 9924"/>
              <a:gd name="connsiteX44" fmla="*/ 8454 w 10000"/>
              <a:gd name="connsiteY44" fmla="*/ 8357 h 9924"/>
              <a:gd name="connsiteX45" fmla="*/ 8223 w 10000"/>
              <a:gd name="connsiteY45" fmla="*/ 8588 h 9924"/>
              <a:gd name="connsiteX46" fmla="*/ 7963 w 10000"/>
              <a:gd name="connsiteY46" fmla="*/ 8791 h 9924"/>
              <a:gd name="connsiteX47" fmla="*/ 6828 w 10000"/>
              <a:gd name="connsiteY47" fmla="*/ 9443 h 9924"/>
              <a:gd name="connsiteX48" fmla="*/ 5709 w 10000"/>
              <a:gd name="connsiteY48" fmla="*/ 9817 h 9924"/>
              <a:gd name="connsiteX49" fmla="*/ 5211 w 10000"/>
              <a:gd name="connsiteY49" fmla="*/ 9924 h 9924"/>
              <a:gd name="connsiteX50" fmla="*/ 6966 w 10000"/>
              <a:gd name="connsiteY50" fmla="*/ 9625 h 9924"/>
              <a:gd name="connsiteX51" fmla="*/ 8259 w 10000"/>
              <a:gd name="connsiteY51" fmla="*/ 9021 h 9924"/>
              <a:gd name="connsiteX52" fmla="*/ 9367 w 10000"/>
              <a:gd name="connsiteY52" fmla="*/ 8031 h 9924"/>
              <a:gd name="connsiteX53" fmla="*/ 9470 w 10000"/>
              <a:gd name="connsiteY53" fmla="*/ 7889 h 9924"/>
              <a:gd name="connsiteX54" fmla="*/ 9516 w 10000"/>
              <a:gd name="connsiteY54" fmla="*/ 7820 h 9924"/>
              <a:gd name="connsiteX55" fmla="*/ 9534 w 10000"/>
              <a:gd name="connsiteY55" fmla="*/ 7799 h 9924"/>
              <a:gd name="connsiteX56" fmla="*/ 9552 w 10000"/>
              <a:gd name="connsiteY56" fmla="*/ 7772 h 9924"/>
              <a:gd name="connsiteX57" fmla="*/ 9571 w 10000"/>
              <a:gd name="connsiteY57" fmla="*/ 7732 h 9924"/>
              <a:gd name="connsiteX58" fmla="*/ 9664 w 10000"/>
              <a:gd name="connsiteY58" fmla="*/ 7576 h 9924"/>
              <a:gd name="connsiteX59" fmla="*/ 9737 w 10000"/>
              <a:gd name="connsiteY59" fmla="*/ 7407 h 9924"/>
              <a:gd name="connsiteX60" fmla="*/ 9959 w 10000"/>
              <a:gd name="connsiteY60" fmla="*/ 6720 h 9924"/>
              <a:gd name="connsiteX61" fmla="*/ 9848 w 10000"/>
              <a:gd name="connsiteY61" fmla="*/ 5274 h 9924"/>
              <a:gd name="connsiteX0" fmla="*/ 9848 w 10000"/>
              <a:gd name="connsiteY0" fmla="*/ 5314 h 9898"/>
              <a:gd name="connsiteX1" fmla="*/ 9136 w 10000"/>
              <a:gd name="connsiteY1" fmla="*/ 3954 h 9898"/>
              <a:gd name="connsiteX2" fmla="*/ 8028 w 10000"/>
              <a:gd name="connsiteY2" fmla="*/ 2812 h 9898"/>
              <a:gd name="connsiteX3" fmla="*/ 6716 w 10000"/>
              <a:gd name="connsiteY3" fmla="*/ 1916 h 9898"/>
              <a:gd name="connsiteX4" fmla="*/ 5359 w 10000"/>
              <a:gd name="connsiteY4" fmla="*/ 1273 h 9898"/>
              <a:gd name="connsiteX5" fmla="*/ 5035 w 10000"/>
              <a:gd name="connsiteY5" fmla="*/ 1143 h 9898"/>
              <a:gd name="connsiteX6" fmla="*/ 4888 w 10000"/>
              <a:gd name="connsiteY6" fmla="*/ 1087 h 9898"/>
              <a:gd name="connsiteX7" fmla="*/ 4822 w 10000"/>
              <a:gd name="connsiteY7" fmla="*/ 1067 h 9898"/>
              <a:gd name="connsiteX8" fmla="*/ 4785 w 10000"/>
              <a:gd name="connsiteY8" fmla="*/ 1053 h 9898"/>
              <a:gd name="connsiteX9" fmla="*/ 4730 w 10000"/>
              <a:gd name="connsiteY9" fmla="*/ 1033 h 9898"/>
              <a:gd name="connsiteX10" fmla="*/ 4138 w 10000"/>
              <a:gd name="connsiteY10" fmla="*/ 848 h 9898"/>
              <a:gd name="connsiteX11" fmla="*/ 3603 w 10000"/>
              <a:gd name="connsiteY11" fmla="*/ 704 h 9898"/>
              <a:gd name="connsiteX12" fmla="*/ 3178 w 10000"/>
              <a:gd name="connsiteY12" fmla="*/ 616 h 9898"/>
              <a:gd name="connsiteX13" fmla="*/ 3326 w 10000"/>
              <a:gd name="connsiteY13" fmla="*/ 0 h 9898"/>
              <a:gd name="connsiteX14" fmla="*/ 0 w 10000"/>
              <a:gd name="connsiteY14" fmla="*/ 890 h 9898"/>
              <a:gd name="connsiteX15" fmla="*/ 2697 w 10000"/>
              <a:gd name="connsiteY15" fmla="*/ 2572 h 9898"/>
              <a:gd name="connsiteX16" fmla="*/ 2864 w 10000"/>
              <a:gd name="connsiteY16" fmla="*/ 1895 h 9898"/>
              <a:gd name="connsiteX17" fmla="*/ 3132 w 10000"/>
              <a:gd name="connsiteY17" fmla="*/ 1936 h 9898"/>
              <a:gd name="connsiteX18" fmla="*/ 3594 w 10000"/>
              <a:gd name="connsiteY18" fmla="*/ 2024 h 9898"/>
              <a:gd name="connsiteX19" fmla="*/ 4120 w 10000"/>
              <a:gd name="connsiteY19" fmla="*/ 2147 h 9898"/>
              <a:gd name="connsiteX20" fmla="*/ 4129 w 10000"/>
              <a:gd name="connsiteY20" fmla="*/ 2147 h 9898"/>
              <a:gd name="connsiteX21" fmla="*/ 4138 w 10000"/>
              <a:gd name="connsiteY21" fmla="*/ 2154 h 9898"/>
              <a:gd name="connsiteX22" fmla="*/ 4129 w 10000"/>
              <a:gd name="connsiteY22" fmla="*/ 2147 h 9898"/>
              <a:gd name="connsiteX23" fmla="*/ 4138 w 10000"/>
              <a:gd name="connsiteY23" fmla="*/ 2147 h 9898"/>
              <a:gd name="connsiteX24" fmla="*/ 4176 w 10000"/>
              <a:gd name="connsiteY24" fmla="*/ 2161 h 9898"/>
              <a:gd name="connsiteX25" fmla="*/ 4250 w 10000"/>
              <a:gd name="connsiteY25" fmla="*/ 2183 h 9898"/>
              <a:gd name="connsiteX26" fmla="*/ 4407 w 10000"/>
              <a:gd name="connsiteY26" fmla="*/ 2223 h 9898"/>
              <a:gd name="connsiteX27" fmla="*/ 4693 w 10000"/>
              <a:gd name="connsiteY27" fmla="*/ 2313 h 9898"/>
              <a:gd name="connsiteX28" fmla="*/ 5904 w 10000"/>
              <a:gd name="connsiteY28" fmla="*/ 2776 h 9898"/>
              <a:gd name="connsiteX29" fmla="*/ 7123 w 10000"/>
              <a:gd name="connsiteY29" fmla="*/ 3461 h 9898"/>
              <a:gd name="connsiteX30" fmla="*/ 8203 w 10000"/>
              <a:gd name="connsiteY30" fmla="*/ 4378 h 9898"/>
              <a:gd name="connsiteX31" fmla="*/ 8962 w 10000"/>
              <a:gd name="connsiteY31" fmla="*/ 5494 h 9898"/>
              <a:gd name="connsiteX32" fmla="*/ 9211 w 10000"/>
              <a:gd name="connsiteY32" fmla="*/ 6724 h 9898"/>
              <a:gd name="connsiteX33" fmla="*/ 9100 w 10000"/>
              <a:gd name="connsiteY33" fmla="*/ 7333 h 9898"/>
              <a:gd name="connsiteX34" fmla="*/ 9054 w 10000"/>
              <a:gd name="connsiteY34" fmla="*/ 7477 h 9898"/>
              <a:gd name="connsiteX35" fmla="*/ 8989 w 10000"/>
              <a:gd name="connsiteY35" fmla="*/ 7621 h 9898"/>
              <a:gd name="connsiteX36" fmla="*/ 8971 w 10000"/>
              <a:gd name="connsiteY36" fmla="*/ 7661 h 9898"/>
              <a:gd name="connsiteX37" fmla="*/ 8971 w 10000"/>
              <a:gd name="connsiteY37" fmla="*/ 7668 h 9898"/>
              <a:gd name="connsiteX38" fmla="*/ 8971 w 10000"/>
              <a:gd name="connsiteY38" fmla="*/ 7674 h 9898"/>
              <a:gd name="connsiteX39" fmla="*/ 8971 w 10000"/>
              <a:gd name="connsiteY39" fmla="*/ 7668 h 9898"/>
              <a:gd name="connsiteX40" fmla="*/ 8962 w 10000"/>
              <a:gd name="connsiteY40" fmla="*/ 7688 h 9898"/>
              <a:gd name="connsiteX41" fmla="*/ 8915 w 10000"/>
              <a:gd name="connsiteY41" fmla="*/ 7764 h 9898"/>
              <a:gd name="connsiteX42" fmla="*/ 8841 w 10000"/>
              <a:gd name="connsiteY42" fmla="*/ 7908 h 9898"/>
              <a:gd name="connsiteX43" fmla="*/ 8665 w 10000"/>
              <a:gd name="connsiteY43" fmla="*/ 8167 h 9898"/>
              <a:gd name="connsiteX44" fmla="*/ 8454 w 10000"/>
              <a:gd name="connsiteY44" fmla="*/ 8421 h 9898"/>
              <a:gd name="connsiteX45" fmla="*/ 8223 w 10000"/>
              <a:gd name="connsiteY45" fmla="*/ 8654 h 9898"/>
              <a:gd name="connsiteX46" fmla="*/ 7963 w 10000"/>
              <a:gd name="connsiteY46" fmla="*/ 8858 h 9898"/>
              <a:gd name="connsiteX47" fmla="*/ 6828 w 10000"/>
              <a:gd name="connsiteY47" fmla="*/ 9515 h 9898"/>
              <a:gd name="connsiteX48" fmla="*/ 5709 w 10000"/>
              <a:gd name="connsiteY48" fmla="*/ 9892 h 9898"/>
              <a:gd name="connsiteX49" fmla="*/ 6966 w 10000"/>
              <a:gd name="connsiteY49" fmla="*/ 9699 h 9898"/>
              <a:gd name="connsiteX50" fmla="*/ 8259 w 10000"/>
              <a:gd name="connsiteY50" fmla="*/ 9090 h 9898"/>
              <a:gd name="connsiteX51" fmla="*/ 9367 w 10000"/>
              <a:gd name="connsiteY51" fmla="*/ 8093 h 9898"/>
              <a:gd name="connsiteX52" fmla="*/ 9470 w 10000"/>
              <a:gd name="connsiteY52" fmla="*/ 7949 h 9898"/>
              <a:gd name="connsiteX53" fmla="*/ 9516 w 10000"/>
              <a:gd name="connsiteY53" fmla="*/ 7880 h 9898"/>
              <a:gd name="connsiteX54" fmla="*/ 9534 w 10000"/>
              <a:gd name="connsiteY54" fmla="*/ 7859 h 9898"/>
              <a:gd name="connsiteX55" fmla="*/ 9552 w 10000"/>
              <a:gd name="connsiteY55" fmla="*/ 7832 h 9898"/>
              <a:gd name="connsiteX56" fmla="*/ 9571 w 10000"/>
              <a:gd name="connsiteY56" fmla="*/ 7791 h 9898"/>
              <a:gd name="connsiteX57" fmla="*/ 9664 w 10000"/>
              <a:gd name="connsiteY57" fmla="*/ 7634 h 9898"/>
              <a:gd name="connsiteX58" fmla="*/ 9737 w 10000"/>
              <a:gd name="connsiteY58" fmla="*/ 7464 h 9898"/>
              <a:gd name="connsiteX59" fmla="*/ 9959 w 10000"/>
              <a:gd name="connsiteY59" fmla="*/ 6771 h 9898"/>
              <a:gd name="connsiteX60" fmla="*/ 9848 w 10000"/>
              <a:gd name="connsiteY60" fmla="*/ 5314 h 9898"/>
              <a:gd name="connsiteX0" fmla="*/ 9848 w 10000"/>
              <a:gd name="connsiteY0" fmla="*/ 5369 h 9820"/>
              <a:gd name="connsiteX1" fmla="*/ 9136 w 10000"/>
              <a:gd name="connsiteY1" fmla="*/ 3995 h 9820"/>
              <a:gd name="connsiteX2" fmla="*/ 8028 w 10000"/>
              <a:gd name="connsiteY2" fmla="*/ 2841 h 9820"/>
              <a:gd name="connsiteX3" fmla="*/ 6716 w 10000"/>
              <a:gd name="connsiteY3" fmla="*/ 1936 h 9820"/>
              <a:gd name="connsiteX4" fmla="*/ 5359 w 10000"/>
              <a:gd name="connsiteY4" fmla="*/ 1286 h 9820"/>
              <a:gd name="connsiteX5" fmla="*/ 5035 w 10000"/>
              <a:gd name="connsiteY5" fmla="*/ 1155 h 9820"/>
              <a:gd name="connsiteX6" fmla="*/ 4888 w 10000"/>
              <a:gd name="connsiteY6" fmla="*/ 1098 h 9820"/>
              <a:gd name="connsiteX7" fmla="*/ 4822 w 10000"/>
              <a:gd name="connsiteY7" fmla="*/ 1078 h 9820"/>
              <a:gd name="connsiteX8" fmla="*/ 4785 w 10000"/>
              <a:gd name="connsiteY8" fmla="*/ 1064 h 9820"/>
              <a:gd name="connsiteX9" fmla="*/ 4730 w 10000"/>
              <a:gd name="connsiteY9" fmla="*/ 1044 h 9820"/>
              <a:gd name="connsiteX10" fmla="*/ 4138 w 10000"/>
              <a:gd name="connsiteY10" fmla="*/ 857 h 9820"/>
              <a:gd name="connsiteX11" fmla="*/ 3603 w 10000"/>
              <a:gd name="connsiteY11" fmla="*/ 711 h 9820"/>
              <a:gd name="connsiteX12" fmla="*/ 3178 w 10000"/>
              <a:gd name="connsiteY12" fmla="*/ 622 h 9820"/>
              <a:gd name="connsiteX13" fmla="*/ 3326 w 10000"/>
              <a:gd name="connsiteY13" fmla="*/ 0 h 9820"/>
              <a:gd name="connsiteX14" fmla="*/ 0 w 10000"/>
              <a:gd name="connsiteY14" fmla="*/ 899 h 9820"/>
              <a:gd name="connsiteX15" fmla="*/ 2697 w 10000"/>
              <a:gd name="connsiteY15" fmla="*/ 2599 h 9820"/>
              <a:gd name="connsiteX16" fmla="*/ 2864 w 10000"/>
              <a:gd name="connsiteY16" fmla="*/ 1915 h 9820"/>
              <a:gd name="connsiteX17" fmla="*/ 3132 w 10000"/>
              <a:gd name="connsiteY17" fmla="*/ 1956 h 9820"/>
              <a:gd name="connsiteX18" fmla="*/ 3594 w 10000"/>
              <a:gd name="connsiteY18" fmla="*/ 2045 h 9820"/>
              <a:gd name="connsiteX19" fmla="*/ 4120 w 10000"/>
              <a:gd name="connsiteY19" fmla="*/ 2169 h 9820"/>
              <a:gd name="connsiteX20" fmla="*/ 4129 w 10000"/>
              <a:gd name="connsiteY20" fmla="*/ 2169 h 9820"/>
              <a:gd name="connsiteX21" fmla="*/ 4138 w 10000"/>
              <a:gd name="connsiteY21" fmla="*/ 2176 h 9820"/>
              <a:gd name="connsiteX22" fmla="*/ 4129 w 10000"/>
              <a:gd name="connsiteY22" fmla="*/ 2169 h 9820"/>
              <a:gd name="connsiteX23" fmla="*/ 4138 w 10000"/>
              <a:gd name="connsiteY23" fmla="*/ 2169 h 9820"/>
              <a:gd name="connsiteX24" fmla="*/ 4176 w 10000"/>
              <a:gd name="connsiteY24" fmla="*/ 2183 h 9820"/>
              <a:gd name="connsiteX25" fmla="*/ 4250 w 10000"/>
              <a:gd name="connsiteY25" fmla="*/ 2205 h 9820"/>
              <a:gd name="connsiteX26" fmla="*/ 4407 w 10000"/>
              <a:gd name="connsiteY26" fmla="*/ 2246 h 9820"/>
              <a:gd name="connsiteX27" fmla="*/ 4693 w 10000"/>
              <a:gd name="connsiteY27" fmla="*/ 2337 h 9820"/>
              <a:gd name="connsiteX28" fmla="*/ 5904 w 10000"/>
              <a:gd name="connsiteY28" fmla="*/ 2805 h 9820"/>
              <a:gd name="connsiteX29" fmla="*/ 7123 w 10000"/>
              <a:gd name="connsiteY29" fmla="*/ 3497 h 9820"/>
              <a:gd name="connsiteX30" fmla="*/ 8203 w 10000"/>
              <a:gd name="connsiteY30" fmla="*/ 4423 h 9820"/>
              <a:gd name="connsiteX31" fmla="*/ 8962 w 10000"/>
              <a:gd name="connsiteY31" fmla="*/ 5551 h 9820"/>
              <a:gd name="connsiteX32" fmla="*/ 9211 w 10000"/>
              <a:gd name="connsiteY32" fmla="*/ 6793 h 9820"/>
              <a:gd name="connsiteX33" fmla="*/ 9100 w 10000"/>
              <a:gd name="connsiteY33" fmla="*/ 7409 h 9820"/>
              <a:gd name="connsiteX34" fmla="*/ 9054 w 10000"/>
              <a:gd name="connsiteY34" fmla="*/ 7554 h 9820"/>
              <a:gd name="connsiteX35" fmla="*/ 8989 w 10000"/>
              <a:gd name="connsiteY35" fmla="*/ 7700 h 9820"/>
              <a:gd name="connsiteX36" fmla="*/ 8971 w 10000"/>
              <a:gd name="connsiteY36" fmla="*/ 7740 h 9820"/>
              <a:gd name="connsiteX37" fmla="*/ 8971 w 10000"/>
              <a:gd name="connsiteY37" fmla="*/ 7747 h 9820"/>
              <a:gd name="connsiteX38" fmla="*/ 8971 w 10000"/>
              <a:gd name="connsiteY38" fmla="*/ 7753 h 9820"/>
              <a:gd name="connsiteX39" fmla="*/ 8971 w 10000"/>
              <a:gd name="connsiteY39" fmla="*/ 7747 h 9820"/>
              <a:gd name="connsiteX40" fmla="*/ 8962 w 10000"/>
              <a:gd name="connsiteY40" fmla="*/ 7767 h 9820"/>
              <a:gd name="connsiteX41" fmla="*/ 8915 w 10000"/>
              <a:gd name="connsiteY41" fmla="*/ 7844 h 9820"/>
              <a:gd name="connsiteX42" fmla="*/ 8841 w 10000"/>
              <a:gd name="connsiteY42" fmla="*/ 7989 h 9820"/>
              <a:gd name="connsiteX43" fmla="*/ 8665 w 10000"/>
              <a:gd name="connsiteY43" fmla="*/ 8251 h 9820"/>
              <a:gd name="connsiteX44" fmla="*/ 8454 w 10000"/>
              <a:gd name="connsiteY44" fmla="*/ 8508 h 9820"/>
              <a:gd name="connsiteX45" fmla="*/ 8223 w 10000"/>
              <a:gd name="connsiteY45" fmla="*/ 8743 h 9820"/>
              <a:gd name="connsiteX46" fmla="*/ 7963 w 10000"/>
              <a:gd name="connsiteY46" fmla="*/ 8949 h 9820"/>
              <a:gd name="connsiteX47" fmla="*/ 6828 w 10000"/>
              <a:gd name="connsiteY47" fmla="*/ 9613 h 9820"/>
              <a:gd name="connsiteX48" fmla="*/ 6966 w 10000"/>
              <a:gd name="connsiteY48" fmla="*/ 9799 h 9820"/>
              <a:gd name="connsiteX49" fmla="*/ 8259 w 10000"/>
              <a:gd name="connsiteY49" fmla="*/ 9184 h 9820"/>
              <a:gd name="connsiteX50" fmla="*/ 9367 w 10000"/>
              <a:gd name="connsiteY50" fmla="*/ 8176 h 9820"/>
              <a:gd name="connsiteX51" fmla="*/ 9470 w 10000"/>
              <a:gd name="connsiteY51" fmla="*/ 8031 h 9820"/>
              <a:gd name="connsiteX52" fmla="*/ 9516 w 10000"/>
              <a:gd name="connsiteY52" fmla="*/ 7961 h 9820"/>
              <a:gd name="connsiteX53" fmla="*/ 9534 w 10000"/>
              <a:gd name="connsiteY53" fmla="*/ 7940 h 9820"/>
              <a:gd name="connsiteX54" fmla="*/ 9552 w 10000"/>
              <a:gd name="connsiteY54" fmla="*/ 7913 h 9820"/>
              <a:gd name="connsiteX55" fmla="*/ 9571 w 10000"/>
              <a:gd name="connsiteY55" fmla="*/ 7871 h 9820"/>
              <a:gd name="connsiteX56" fmla="*/ 9664 w 10000"/>
              <a:gd name="connsiteY56" fmla="*/ 7713 h 9820"/>
              <a:gd name="connsiteX57" fmla="*/ 9737 w 10000"/>
              <a:gd name="connsiteY57" fmla="*/ 7541 h 9820"/>
              <a:gd name="connsiteX58" fmla="*/ 9959 w 10000"/>
              <a:gd name="connsiteY58" fmla="*/ 6841 h 9820"/>
              <a:gd name="connsiteX59" fmla="*/ 9848 w 10000"/>
              <a:gd name="connsiteY59" fmla="*/ 5369 h 9820"/>
              <a:gd name="connsiteX0" fmla="*/ 9848 w 10000"/>
              <a:gd name="connsiteY0" fmla="*/ 5467 h 9793"/>
              <a:gd name="connsiteX1" fmla="*/ 9136 w 10000"/>
              <a:gd name="connsiteY1" fmla="*/ 4068 h 9793"/>
              <a:gd name="connsiteX2" fmla="*/ 8028 w 10000"/>
              <a:gd name="connsiteY2" fmla="*/ 2893 h 9793"/>
              <a:gd name="connsiteX3" fmla="*/ 6716 w 10000"/>
              <a:gd name="connsiteY3" fmla="*/ 1971 h 9793"/>
              <a:gd name="connsiteX4" fmla="*/ 5359 w 10000"/>
              <a:gd name="connsiteY4" fmla="*/ 1310 h 9793"/>
              <a:gd name="connsiteX5" fmla="*/ 5035 w 10000"/>
              <a:gd name="connsiteY5" fmla="*/ 1176 h 9793"/>
              <a:gd name="connsiteX6" fmla="*/ 4888 w 10000"/>
              <a:gd name="connsiteY6" fmla="*/ 1118 h 9793"/>
              <a:gd name="connsiteX7" fmla="*/ 4822 w 10000"/>
              <a:gd name="connsiteY7" fmla="*/ 1098 h 9793"/>
              <a:gd name="connsiteX8" fmla="*/ 4785 w 10000"/>
              <a:gd name="connsiteY8" fmla="*/ 1084 h 9793"/>
              <a:gd name="connsiteX9" fmla="*/ 4730 w 10000"/>
              <a:gd name="connsiteY9" fmla="*/ 1063 h 9793"/>
              <a:gd name="connsiteX10" fmla="*/ 4138 w 10000"/>
              <a:gd name="connsiteY10" fmla="*/ 873 h 9793"/>
              <a:gd name="connsiteX11" fmla="*/ 3603 w 10000"/>
              <a:gd name="connsiteY11" fmla="*/ 724 h 9793"/>
              <a:gd name="connsiteX12" fmla="*/ 3178 w 10000"/>
              <a:gd name="connsiteY12" fmla="*/ 633 h 9793"/>
              <a:gd name="connsiteX13" fmla="*/ 3326 w 10000"/>
              <a:gd name="connsiteY13" fmla="*/ 0 h 9793"/>
              <a:gd name="connsiteX14" fmla="*/ 0 w 10000"/>
              <a:gd name="connsiteY14" fmla="*/ 915 h 9793"/>
              <a:gd name="connsiteX15" fmla="*/ 2697 w 10000"/>
              <a:gd name="connsiteY15" fmla="*/ 2647 h 9793"/>
              <a:gd name="connsiteX16" fmla="*/ 2864 w 10000"/>
              <a:gd name="connsiteY16" fmla="*/ 1950 h 9793"/>
              <a:gd name="connsiteX17" fmla="*/ 3132 w 10000"/>
              <a:gd name="connsiteY17" fmla="*/ 1992 h 9793"/>
              <a:gd name="connsiteX18" fmla="*/ 3594 w 10000"/>
              <a:gd name="connsiteY18" fmla="*/ 2082 h 9793"/>
              <a:gd name="connsiteX19" fmla="*/ 4120 w 10000"/>
              <a:gd name="connsiteY19" fmla="*/ 2209 h 9793"/>
              <a:gd name="connsiteX20" fmla="*/ 4129 w 10000"/>
              <a:gd name="connsiteY20" fmla="*/ 2209 h 9793"/>
              <a:gd name="connsiteX21" fmla="*/ 4138 w 10000"/>
              <a:gd name="connsiteY21" fmla="*/ 2216 h 9793"/>
              <a:gd name="connsiteX22" fmla="*/ 4129 w 10000"/>
              <a:gd name="connsiteY22" fmla="*/ 2209 h 9793"/>
              <a:gd name="connsiteX23" fmla="*/ 4138 w 10000"/>
              <a:gd name="connsiteY23" fmla="*/ 2209 h 9793"/>
              <a:gd name="connsiteX24" fmla="*/ 4176 w 10000"/>
              <a:gd name="connsiteY24" fmla="*/ 2223 h 9793"/>
              <a:gd name="connsiteX25" fmla="*/ 4250 w 10000"/>
              <a:gd name="connsiteY25" fmla="*/ 2245 h 9793"/>
              <a:gd name="connsiteX26" fmla="*/ 4407 w 10000"/>
              <a:gd name="connsiteY26" fmla="*/ 2287 h 9793"/>
              <a:gd name="connsiteX27" fmla="*/ 4693 w 10000"/>
              <a:gd name="connsiteY27" fmla="*/ 2380 h 9793"/>
              <a:gd name="connsiteX28" fmla="*/ 5904 w 10000"/>
              <a:gd name="connsiteY28" fmla="*/ 2856 h 9793"/>
              <a:gd name="connsiteX29" fmla="*/ 7123 w 10000"/>
              <a:gd name="connsiteY29" fmla="*/ 3561 h 9793"/>
              <a:gd name="connsiteX30" fmla="*/ 8203 w 10000"/>
              <a:gd name="connsiteY30" fmla="*/ 4504 h 9793"/>
              <a:gd name="connsiteX31" fmla="*/ 8962 w 10000"/>
              <a:gd name="connsiteY31" fmla="*/ 5653 h 9793"/>
              <a:gd name="connsiteX32" fmla="*/ 9211 w 10000"/>
              <a:gd name="connsiteY32" fmla="*/ 6918 h 9793"/>
              <a:gd name="connsiteX33" fmla="*/ 9100 w 10000"/>
              <a:gd name="connsiteY33" fmla="*/ 7545 h 9793"/>
              <a:gd name="connsiteX34" fmla="*/ 9054 w 10000"/>
              <a:gd name="connsiteY34" fmla="*/ 7692 h 9793"/>
              <a:gd name="connsiteX35" fmla="*/ 8989 w 10000"/>
              <a:gd name="connsiteY35" fmla="*/ 7841 h 9793"/>
              <a:gd name="connsiteX36" fmla="*/ 8971 w 10000"/>
              <a:gd name="connsiteY36" fmla="*/ 7882 h 9793"/>
              <a:gd name="connsiteX37" fmla="*/ 8971 w 10000"/>
              <a:gd name="connsiteY37" fmla="*/ 7889 h 9793"/>
              <a:gd name="connsiteX38" fmla="*/ 8971 w 10000"/>
              <a:gd name="connsiteY38" fmla="*/ 7895 h 9793"/>
              <a:gd name="connsiteX39" fmla="*/ 8971 w 10000"/>
              <a:gd name="connsiteY39" fmla="*/ 7889 h 9793"/>
              <a:gd name="connsiteX40" fmla="*/ 8962 w 10000"/>
              <a:gd name="connsiteY40" fmla="*/ 7909 h 9793"/>
              <a:gd name="connsiteX41" fmla="*/ 8915 w 10000"/>
              <a:gd name="connsiteY41" fmla="*/ 7988 h 9793"/>
              <a:gd name="connsiteX42" fmla="*/ 8841 w 10000"/>
              <a:gd name="connsiteY42" fmla="*/ 8135 h 9793"/>
              <a:gd name="connsiteX43" fmla="*/ 8665 w 10000"/>
              <a:gd name="connsiteY43" fmla="*/ 8402 h 9793"/>
              <a:gd name="connsiteX44" fmla="*/ 8454 w 10000"/>
              <a:gd name="connsiteY44" fmla="*/ 8664 h 9793"/>
              <a:gd name="connsiteX45" fmla="*/ 8223 w 10000"/>
              <a:gd name="connsiteY45" fmla="*/ 8903 h 9793"/>
              <a:gd name="connsiteX46" fmla="*/ 7963 w 10000"/>
              <a:gd name="connsiteY46" fmla="*/ 9113 h 9793"/>
              <a:gd name="connsiteX47" fmla="*/ 6828 w 10000"/>
              <a:gd name="connsiteY47" fmla="*/ 9789 h 9793"/>
              <a:gd name="connsiteX48" fmla="*/ 8259 w 10000"/>
              <a:gd name="connsiteY48" fmla="*/ 9352 h 9793"/>
              <a:gd name="connsiteX49" fmla="*/ 9367 w 10000"/>
              <a:gd name="connsiteY49" fmla="*/ 8326 h 9793"/>
              <a:gd name="connsiteX50" fmla="*/ 9470 w 10000"/>
              <a:gd name="connsiteY50" fmla="*/ 8178 h 9793"/>
              <a:gd name="connsiteX51" fmla="*/ 9516 w 10000"/>
              <a:gd name="connsiteY51" fmla="*/ 8107 h 9793"/>
              <a:gd name="connsiteX52" fmla="*/ 9534 w 10000"/>
              <a:gd name="connsiteY52" fmla="*/ 8086 h 9793"/>
              <a:gd name="connsiteX53" fmla="*/ 9552 w 10000"/>
              <a:gd name="connsiteY53" fmla="*/ 8058 h 9793"/>
              <a:gd name="connsiteX54" fmla="*/ 9571 w 10000"/>
              <a:gd name="connsiteY54" fmla="*/ 8015 h 9793"/>
              <a:gd name="connsiteX55" fmla="*/ 9664 w 10000"/>
              <a:gd name="connsiteY55" fmla="*/ 7854 h 9793"/>
              <a:gd name="connsiteX56" fmla="*/ 9737 w 10000"/>
              <a:gd name="connsiteY56" fmla="*/ 7679 h 9793"/>
              <a:gd name="connsiteX57" fmla="*/ 9959 w 10000"/>
              <a:gd name="connsiteY57" fmla="*/ 6966 h 9793"/>
              <a:gd name="connsiteX58" fmla="*/ 9848 w 10000"/>
              <a:gd name="connsiteY58" fmla="*/ 5467 h 9793"/>
              <a:gd name="connsiteX0" fmla="*/ 9848 w 10000"/>
              <a:gd name="connsiteY0" fmla="*/ 5583 h 9583"/>
              <a:gd name="connsiteX1" fmla="*/ 9136 w 10000"/>
              <a:gd name="connsiteY1" fmla="*/ 4154 h 9583"/>
              <a:gd name="connsiteX2" fmla="*/ 8028 w 10000"/>
              <a:gd name="connsiteY2" fmla="*/ 2954 h 9583"/>
              <a:gd name="connsiteX3" fmla="*/ 6716 w 10000"/>
              <a:gd name="connsiteY3" fmla="*/ 2013 h 9583"/>
              <a:gd name="connsiteX4" fmla="*/ 5359 w 10000"/>
              <a:gd name="connsiteY4" fmla="*/ 1338 h 9583"/>
              <a:gd name="connsiteX5" fmla="*/ 5035 w 10000"/>
              <a:gd name="connsiteY5" fmla="*/ 1201 h 9583"/>
              <a:gd name="connsiteX6" fmla="*/ 4888 w 10000"/>
              <a:gd name="connsiteY6" fmla="*/ 1142 h 9583"/>
              <a:gd name="connsiteX7" fmla="*/ 4822 w 10000"/>
              <a:gd name="connsiteY7" fmla="*/ 1121 h 9583"/>
              <a:gd name="connsiteX8" fmla="*/ 4785 w 10000"/>
              <a:gd name="connsiteY8" fmla="*/ 1107 h 9583"/>
              <a:gd name="connsiteX9" fmla="*/ 4730 w 10000"/>
              <a:gd name="connsiteY9" fmla="*/ 1085 h 9583"/>
              <a:gd name="connsiteX10" fmla="*/ 4138 w 10000"/>
              <a:gd name="connsiteY10" fmla="*/ 891 h 9583"/>
              <a:gd name="connsiteX11" fmla="*/ 3603 w 10000"/>
              <a:gd name="connsiteY11" fmla="*/ 739 h 9583"/>
              <a:gd name="connsiteX12" fmla="*/ 3178 w 10000"/>
              <a:gd name="connsiteY12" fmla="*/ 646 h 9583"/>
              <a:gd name="connsiteX13" fmla="*/ 3326 w 10000"/>
              <a:gd name="connsiteY13" fmla="*/ 0 h 9583"/>
              <a:gd name="connsiteX14" fmla="*/ 0 w 10000"/>
              <a:gd name="connsiteY14" fmla="*/ 934 h 9583"/>
              <a:gd name="connsiteX15" fmla="*/ 2697 w 10000"/>
              <a:gd name="connsiteY15" fmla="*/ 2703 h 9583"/>
              <a:gd name="connsiteX16" fmla="*/ 2864 w 10000"/>
              <a:gd name="connsiteY16" fmla="*/ 1991 h 9583"/>
              <a:gd name="connsiteX17" fmla="*/ 3132 w 10000"/>
              <a:gd name="connsiteY17" fmla="*/ 2034 h 9583"/>
              <a:gd name="connsiteX18" fmla="*/ 3594 w 10000"/>
              <a:gd name="connsiteY18" fmla="*/ 2126 h 9583"/>
              <a:gd name="connsiteX19" fmla="*/ 4120 w 10000"/>
              <a:gd name="connsiteY19" fmla="*/ 2256 h 9583"/>
              <a:gd name="connsiteX20" fmla="*/ 4129 w 10000"/>
              <a:gd name="connsiteY20" fmla="*/ 2256 h 9583"/>
              <a:gd name="connsiteX21" fmla="*/ 4138 w 10000"/>
              <a:gd name="connsiteY21" fmla="*/ 2263 h 9583"/>
              <a:gd name="connsiteX22" fmla="*/ 4129 w 10000"/>
              <a:gd name="connsiteY22" fmla="*/ 2256 h 9583"/>
              <a:gd name="connsiteX23" fmla="*/ 4138 w 10000"/>
              <a:gd name="connsiteY23" fmla="*/ 2256 h 9583"/>
              <a:gd name="connsiteX24" fmla="*/ 4176 w 10000"/>
              <a:gd name="connsiteY24" fmla="*/ 2270 h 9583"/>
              <a:gd name="connsiteX25" fmla="*/ 4250 w 10000"/>
              <a:gd name="connsiteY25" fmla="*/ 2292 h 9583"/>
              <a:gd name="connsiteX26" fmla="*/ 4407 w 10000"/>
              <a:gd name="connsiteY26" fmla="*/ 2335 h 9583"/>
              <a:gd name="connsiteX27" fmla="*/ 4693 w 10000"/>
              <a:gd name="connsiteY27" fmla="*/ 2430 h 9583"/>
              <a:gd name="connsiteX28" fmla="*/ 5904 w 10000"/>
              <a:gd name="connsiteY28" fmla="*/ 2916 h 9583"/>
              <a:gd name="connsiteX29" fmla="*/ 7123 w 10000"/>
              <a:gd name="connsiteY29" fmla="*/ 3636 h 9583"/>
              <a:gd name="connsiteX30" fmla="*/ 8203 w 10000"/>
              <a:gd name="connsiteY30" fmla="*/ 4599 h 9583"/>
              <a:gd name="connsiteX31" fmla="*/ 8962 w 10000"/>
              <a:gd name="connsiteY31" fmla="*/ 5772 h 9583"/>
              <a:gd name="connsiteX32" fmla="*/ 9211 w 10000"/>
              <a:gd name="connsiteY32" fmla="*/ 7064 h 9583"/>
              <a:gd name="connsiteX33" fmla="*/ 9100 w 10000"/>
              <a:gd name="connsiteY33" fmla="*/ 7704 h 9583"/>
              <a:gd name="connsiteX34" fmla="*/ 9054 w 10000"/>
              <a:gd name="connsiteY34" fmla="*/ 7855 h 9583"/>
              <a:gd name="connsiteX35" fmla="*/ 8989 w 10000"/>
              <a:gd name="connsiteY35" fmla="*/ 8007 h 9583"/>
              <a:gd name="connsiteX36" fmla="*/ 8971 w 10000"/>
              <a:gd name="connsiteY36" fmla="*/ 8049 h 9583"/>
              <a:gd name="connsiteX37" fmla="*/ 8971 w 10000"/>
              <a:gd name="connsiteY37" fmla="*/ 8056 h 9583"/>
              <a:gd name="connsiteX38" fmla="*/ 8971 w 10000"/>
              <a:gd name="connsiteY38" fmla="*/ 8062 h 9583"/>
              <a:gd name="connsiteX39" fmla="*/ 8971 w 10000"/>
              <a:gd name="connsiteY39" fmla="*/ 8056 h 9583"/>
              <a:gd name="connsiteX40" fmla="*/ 8962 w 10000"/>
              <a:gd name="connsiteY40" fmla="*/ 8076 h 9583"/>
              <a:gd name="connsiteX41" fmla="*/ 8915 w 10000"/>
              <a:gd name="connsiteY41" fmla="*/ 8157 h 9583"/>
              <a:gd name="connsiteX42" fmla="*/ 8841 w 10000"/>
              <a:gd name="connsiteY42" fmla="*/ 8307 h 9583"/>
              <a:gd name="connsiteX43" fmla="*/ 8665 w 10000"/>
              <a:gd name="connsiteY43" fmla="*/ 8580 h 9583"/>
              <a:gd name="connsiteX44" fmla="*/ 8454 w 10000"/>
              <a:gd name="connsiteY44" fmla="*/ 8847 h 9583"/>
              <a:gd name="connsiteX45" fmla="*/ 8223 w 10000"/>
              <a:gd name="connsiteY45" fmla="*/ 9091 h 9583"/>
              <a:gd name="connsiteX46" fmla="*/ 7963 w 10000"/>
              <a:gd name="connsiteY46" fmla="*/ 9306 h 9583"/>
              <a:gd name="connsiteX47" fmla="*/ 8259 w 10000"/>
              <a:gd name="connsiteY47" fmla="*/ 9550 h 9583"/>
              <a:gd name="connsiteX48" fmla="*/ 9367 w 10000"/>
              <a:gd name="connsiteY48" fmla="*/ 8502 h 9583"/>
              <a:gd name="connsiteX49" fmla="*/ 9470 w 10000"/>
              <a:gd name="connsiteY49" fmla="*/ 8351 h 9583"/>
              <a:gd name="connsiteX50" fmla="*/ 9516 w 10000"/>
              <a:gd name="connsiteY50" fmla="*/ 8278 h 9583"/>
              <a:gd name="connsiteX51" fmla="*/ 9534 w 10000"/>
              <a:gd name="connsiteY51" fmla="*/ 8257 h 9583"/>
              <a:gd name="connsiteX52" fmla="*/ 9552 w 10000"/>
              <a:gd name="connsiteY52" fmla="*/ 8228 h 9583"/>
              <a:gd name="connsiteX53" fmla="*/ 9571 w 10000"/>
              <a:gd name="connsiteY53" fmla="*/ 8184 h 9583"/>
              <a:gd name="connsiteX54" fmla="*/ 9664 w 10000"/>
              <a:gd name="connsiteY54" fmla="*/ 8020 h 9583"/>
              <a:gd name="connsiteX55" fmla="*/ 9737 w 10000"/>
              <a:gd name="connsiteY55" fmla="*/ 7841 h 9583"/>
              <a:gd name="connsiteX56" fmla="*/ 9959 w 10000"/>
              <a:gd name="connsiteY56" fmla="*/ 7113 h 9583"/>
              <a:gd name="connsiteX57" fmla="*/ 9848 w 10000"/>
              <a:gd name="connsiteY57" fmla="*/ 5583 h 9583"/>
              <a:gd name="connsiteX0" fmla="*/ 9848 w 10000"/>
              <a:gd name="connsiteY0" fmla="*/ 5826 h 9711"/>
              <a:gd name="connsiteX1" fmla="*/ 9136 w 10000"/>
              <a:gd name="connsiteY1" fmla="*/ 4335 h 9711"/>
              <a:gd name="connsiteX2" fmla="*/ 8028 w 10000"/>
              <a:gd name="connsiteY2" fmla="*/ 3083 h 9711"/>
              <a:gd name="connsiteX3" fmla="*/ 6716 w 10000"/>
              <a:gd name="connsiteY3" fmla="*/ 2101 h 9711"/>
              <a:gd name="connsiteX4" fmla="*/ 5359 w 10000"/>
              <a:gd name="connsiteY4" fmla="*/ 1396 h 9711"/>
              <a:gd name="connsiteX5" fmla="*/ 5035 w 10000"/>
              <a:gd name="connsiteY5" fmla="*/ 1253 h 9711"/>
              <a:gd name="connsiteX6" fmla="*/ 4888 w 10000"/>
              <a:gd name="connsiteY6" fmla="*/ 1192 h 9711"/>
              <a:gd name="connsiteX7" fmla="*/ 4822 w 10000"/>
              <a:gd name="connsiteY7" fmla="*/ 1170 h 9711"/>
              <a:gd name="connsiteX8" fmla="*/ 4785 w 10000"/>
              <a:gd name="connsiteY8" fmla="*/ 1155 h 9711"/>
              <a:gd name="connsiteX9" fmla="*/ 4730 w 10000"/>
              <a:gd name="connsiteY9" fmla="*/ 1132 h 9711"/>
              <a:gd name="connsiteX10" fmla="*/ 4138 w 10000"/>
              <a:gd name="connsiteY10" fmla="*/ 930 h 9711"/>
              <a:gd name="connsiteX11" fmla="*/ 3603 w 10000"/>
              <a:gd name="connsiteY11" fmla="*/ 771 h 9711"/>
              <a:gd name="connsiteX12" fmla="*/ 3178 w 10000"/>
              <a:gd name="connsiteY12" fmla="*/ 674 h 9711"/>
              <a:gd name="connsiteX13" fmla="*/ 3326 w 10000"/>
              <a:gd name="connsiteY13" fmla="*/ 0 h 9711"/>
              <a:gd name="connsiteX14" fmla="*/ 0 w 10000"/>
              <a:gd name="connsiteY14" fmla="*/ 975 h 9711"/>
              <a:gd name="connsiteX15" fmla="*/ 2697 w 10000"/>
              <a:gd name="connsiteY15" fmla="*/ 2821 h 9711"/>
              <a:gd name="connsiteX16" fmla="*/ 2864 w 10000"/>
              <a:gd name="connsiteY16" fmla="*/ 2078 h 9711"/>
              <a:gd name="connsiteX17" fmla="*/ 3132 w 10000"/>
              <a:gd name="connsiteY17" fmla="*/ 2123 h 9711"/>
              <a:gd name="connsiteX18" fmla="*/ 3594 w 10000"/>
              <a:gd name="connsiteY18" fmla="*/ 2219 h 9711"/>
              <a:gd name="connsiteX19" fmla="*/ 4120 w 10000"/>
              <a:gd name="connsiteY19" fmla="*/ 2354 h 9711"/>
              <a:gd name="connsiteX20" fmla="*/ 4129 w 10000"/>
              <a:gd name="connsiteY20" fmla="*/ 2354 h 9711"/>
              <a:gd name="connsiteX21" fmla="*/ 4138 w 10000"/>
              <a:gd name="connsiteY21" fmla="*/ 2361 h 9711"/>
              <a:gd name="connsiteX22" fmla="*/ 4129 w 10000"/>
              <a:gd name="connsiteY22" fmla="*/ 2354 h 9711"/>
              <a:gd name="connsiteX23" fmla="*/ 4138 w 10000"/>
              <a:gd name="connsiteY23" fmla="*/ 2354 h 9711"/>
              <a:gd name="connsiteX24" fmla="*/ 4176 w 10000"/>
              <a:gd name="connsiteY24" fmla="*/ 2369 h 9711"/>
              <a:gd name="connsiteX25" fmla="*/ 4250 w 10000"/>
              <a:gd name="connsiteY25" fmla="*/ 2392 h 9711"/>
              <a:gd name="connsiteX26" fmla="*/ 4407 w 10000"/>
              <a:gd name="connsiteY26" fmla="*/ 2437 h 9711"/>
              <a:gd name="connsiteX27" fmla="*/ 4693 w 10000"/>
              <a:gd name="connsiteY27" fmla="*/ 2536 h 9711"/>
              <a:gd name="connsiteX28" fmla="*/ 5904 w 10000"/>
              <a:gd name="connsiteY28" fmla="*/ 3043 h 9711"/>
              <a:gd name="connsiteX29" fmla="*/ 7123 w 10000"/>
              <a:gd name="connsiteY29" fmla="*/ 3794 h 9711"/>
              <a:gd name="connsiteX30" fmla="*/ 8203 w 10000"/>
              <a:gd name="connsiteY30" fmla="*/ 4799 h 9711"/>
              <a:gd name="connsiteX31" fmla="*/ 8962 w 10000"/>
              <a:gd name="connsiteY31" fmla="*/ 6023 h 9711"/>
              <a:gd name="connsiteX32" fmla="*/ 9211 w 10000"/>
              <a:gd name="connsiteY32" fmla="*/ 7371 h 9711"/>
              <a:gd name="connsiteX33" fmla="*/ 9100 w 10000"/>
              <a:gd name="connsiteY33" fmla="*/ 8039 h 9711"/>
              <a:gd name="connsiteX34" fmla="*/ 9054 w 10000"/>
              <a:gd name="connsiteY34" fmla="*/ 8197 h 9711"/>
              <a:gd name="connsiteX35" fmla="*/ 8989 w 10000"/>
              <a:gd name="connsiteY35" fmla="*/ 8355 h 9711"/>
              <a:gd name="connsiteX36" fmla="*/ 8971 w 10000"/>
              <a:gd name="connsiteY36" fmla="*/ 8399 h 9711"/>
              <a:gd name="connsiteX37" fmla="*/ 8971 w 10000"/>
              <a:gd name="connsiteY37" fmla="*/ 8407 h 9711"/>
              <a:gd name="connsiteX38" fmla="*/ 8971 w 10000"/>
              <a:gd name="connsiteY38" fmla="*/ 8413 h 9711"/>
              <a:gd name="connsiteX39" fmla="*/ 8971 w 10000"/>
              <a:gd name="connsiteY39" fmla="*/ 8407 h 9711"/>
              <a:gd name="connsiteX40" fmla="*/ 8962 w 10000"/>
              <a:gd name="connsiteY40" fmla="*/ 8427 h 9711"/>
              <a:gd name="connsiteX41" fmla="*/ 8915 w 10000"/>
              <a:gd name="connsiteY41" fmla="*/ 8512 h 9711"/>
              <a:gd name="connsiteX42" fmla="*/ 8841 w 10000"/>
              <a:gd name="connsiteY42" fmla="*/ 8668 h 9711"/>
              <a:gd name="connsiteX43" fmla="*/ 8665 w 10000"/>
              <a:gd name="connsiteY43" fmla="*/ 8953 h 9711"/>
              <a:gd name="connsiteX44" fmla="*/ 8454 w 10000"/>
              <a:gd name="connsiteY44" fmla="*/ 9232 h 9711"/>
              <a:gd name="connsiteX45" fmla="*/ 8223 w 10000"/>
              <a:gd name="connsiteY45" fmla="*/ 9487 h 9711"/>
              <a:gd name="connsiteX46" fmla="*/ 7963 w 10000"/>
              <a:gd name="connsiteY46" fmla="*/ 9711 h 9711"/>
              <a:gd name="connsiteX47" fmla="*/ 9367 w 10000"/>
              <a:gd name="connsiteY47" fmla="*/ 8872 h 9711"/>
              <a:gd name="connsiteX48" fmla="*/ 9470 w 10000"/>
              <a:gd name="connsiteY48" fmla="*/ 8714 h 9711"/>
              <a:gd name="connsiteX49" fmla="*/ 9516 w 10000"/>
              <a:gd name="connsiteY49" fmla="*/ 8638 h 9711"/>
              <a:gd name="connsiteX50" fmla="*/ 9534 w 10000"/>
              <a:gd name="connsiteY50" fmla="*/ 8616 h 9711"/>
              <a:gd name="connsiteX51" fmla="*/ 9552 w 10000"/>
              <a:gd name="connsiteY51" fmla="*/ 8586 h 9711"/>
              <a:gd name="connsiteX52" fmla="*/ 9571 w 10000"/>
              <a:gd name="connsiteY52" fmla="*/ 8540 h 9711"/>
              <a:gd name="connsiteX53" fmla="*/ 9664 w 10000"/>
              <a:gd name="connsiteY53" fmla="*/ 8369 h 9711"/>
              <a:gd name="connsiteX54" fmla="*/ 9737 w 10000"/>
              <a:gd name="connsiteY54" fmla="*/ 8182 h 9711"/>
              <a:gd name="connsiteX55" fmla="*/ 9959 w 10000"/>
              <a:gd name="connsiteY55" fmla="*/ 7423 h 9711"/>
              <a:gd name="connsiteX56" fmla="*/ 9848 w 10000"/>
              <a:gd name="connsiteY56" fmla="*/ 5826 h 9711"/>
              <a:gd name="connsiteX0" fmla="*/ 9848 w 10000"/>
              <a:gd name="connsiteY0" fmla="*/ 5999 h 9769"/>
              <a:gd name="connsiteX1" fmla="*/ 9136 w 10000"/>
              <a:gd name="connsiteY1" fmla="*/ 4464 h 9769"/>
              <a:gd name="connsiteX2" fmla="*/ 8028 w 10000"/>
              <a:gd name="connsiteY2" fmla="*/ 3175 h 9769"/>
              <a:gd name="connsiteX3" fmla="*/ 6716 w 10000"/>
              <a:gd name="connsiteY3" fmla="*/ 2164 h 9769"/>
              <a:gd name="connsiteX4" fmla="*/ 5359 w 10000"/>
              <a:gd name="connsiteY4" fmla="*/ 1438 h 9769"/>
              <a:gd name="connsiteX5" fmla="*/ 5035 w 10000"/>
              <a:gd name="connsiteY5" fmla="*/ 1290 h 9769"/>
              <a:gd name="connsiteX6" fmla="*/ 4888 w 10000"/>
              <a:gd name="connsiteY6" fmla="*/ 1227 h 9769"/>
              <a:gd name="connsiteX7" fmla="*/ 4822 w 10000"/>
              <a:gd name="connsiteY7" fmla="*/ 1205 h 9769"/>
              <a:gd name="connsiteX8" fmla="*/ 4785 w 10000"/>
              <a:gd name="connsiteY8" fmla="*/ 1189 h 9769"/>
              <a:gd name="connsiteX9" fmla="*/ 4730 w 10000"/>
              <a:gd name="connsiteY9" fmla="*/ 1166 h 9769"/>
              <a:gd name="connsiteX10" fmla="*/ 4138 w 10000"/>
              <a:gd name="connsiteY10" fmla="*/ 958 h 9769"/>
              <a:gd name="connsiteX11" fmla="*/ 3603 w 10000"/>
              <a:gd name="connsiteY11" fmla="*/ 794 h 9769"/>
              <a:gd name="connsiteX12" fmla="*/ 3178 w 10000"/>
              <a:gd name="connsiteY12" fmla="*/ 694 h 9769"/>
              <a:gd name="connsiteX13" fmla="*/ 3326 w 10000"/>
              <a:gd name="connsiteY13" fmla="*/ 0 h 9769"/>
              <a:gd name="connsiteX14" fmla="*/ 0 w 10000"/>
              <a:gd name="connsiteY14" fmla="*/ 1004 h 9769"/>
              <a:gd name="connsiteX15" fmla="*/ 2697 w 10000"/>
              <a:gd name="connsiteY15" fmla="*/ 2905 h 9769"/>
              <a:gd name="connsiteX16" fmla="*/ 2864 w 10000"/>
              <a:gd name="connsiteY16" fmla="*/ 2140 h 9769"/>
              <a:gd name="connsiteX17" fmla="*/ 3132 w 10000"/>
              <a:gd name="connsiteY17" fmla="*/ 2186 h 9769"/>
              <a:gd name="connsiteX18" fmla="*/ 3594 w 10000"/>
              <a:gd name="connsiteY18" fmla="*/ 2285 h 9769"/>
              <a:gd name="connsiteX19" fmla="*/ 4120 w 10000"/>
              <a:gd name="connsiteY19" fmla="*/ 2424 h 9769"/>
              <a:gd name="connsiteX20" fmla="*/ 4129 w 10000"/>
              <a:gd name="connsiteY20" fmla="*/ 2424 h 9769"/>
              <a:gd name="connsiteX21" fmla="*/ 4138 w 10000"/>
              <a:gd name="connsiteY21" fmla="*/ 2431 h 9769"/>
              <a:gd name="connsiteX22" fmla="*/ 4129 w 10000"/>
              <a:gd name="connsiteY22" fmla="*/ 2424 h 9769"/>
              <a:gd name="connsiteX23" fmla="*/ 4138 w 10000"/>
              <a:gd name="connsiteY23" fmla="*/ 2424 h 9769"/>
              <a:gd name="connsiteX24" fmla="*/ 4176 w 10000"/>
              <a:gd name="connsiteY24" fmla="*/ 2440 h 9769"/>
              <a:gd name="connsiteX25" fmla="*/ 4250 w 10000"/>
              <a:gd name="connsiteY25" fmla="*/ 2463 h 9769"/>
              <a:gd name="connsiteX26" fmla="*/ 4407 w 10000"/>
              <a:gd name="connsiteY26" fmla="*/ 2510 h 9769"/>
              <a:gd name="connsiteX27" fmla="*/ 4693 w 10000"/>
              <a:gd name="connsiteY27" fmla="*/ 2611 h 9769"/>
              <a:gd name="connsiteX28" fmla="*/ 5904 w 10000"/>
              <a:gd name="connsiteY28" fmla="*/ 3134 h 9769"/>
              <a:gd name="connsiteX29" fmla="*/ 7123 w 10000"/>
              <a:gd name="connsiteY29" fmla="*/ 3907 h 9769"/>
              <a:gd name="connsiteX30" fmla="*/ 8203 w 10000"/>
              <a:gd name="connsiteY30" fmla="*/ 4942 h 9769"/>
              <a:gd name="connsiteX31" fmla="*/ 8962 w 10000"/>
              <a:gd name="connsiteY31" fmla="*/ 6202 h 9769"/>
              <a:gd name="connsiteX32" fmla="*/ 9211 w 10000"/>
              <a:gd name="connsiteY32" fmla="*/ 7590 h 9769"/>
              <a:gd name="connsiteX33" fmla="*/ 9100 w 10000"/>
              <a:gd name="connsiteY33" fmla="*/ 8278 h 9769"/>
              <a:gd name="connsiteX34" fmla="*/ 9054 w 10000"/>
              <a:gd name="connsiteY34" fmla="*/ 8441 h 9769"/>
              <a:gd name="connsiteX35" fmla="*/ 8989 w 10000"/>
              <a:gd name="connsiteY35" fmla="*/ 8604 h 9769"/>
              <a:gd name="connsiteX36" fmla="*/ 8971 w 10000"/>
              <a:gd name="connsiteY36" fmla="*/ 8649 h 9769"/>
              <a:gd name="connsiteX37" fmla="*/ 8971 w 10000"/>
              <a:gd name="connsiteY37" fmla="*/ 8657 h 9769"/>
              <a:gd name="connsiteX38" fmla="*/ 8971 w 10000"/>
              <a:gd name="connsiteY38" fmla="*/ 8663 h 9769"/>
              <a:gd name="connsiteX39" fmla="*/ 8971 w 10000"/>
              <a:gd name="connsiteY39" fmla="*/ 8657 h 9769"/>
              <a:gd name="connsiteX40" fmla="*/ 8962 w 10000"/>
              <a:gd name="connsiteY40" fmla="*/ 8678 h 9769"/>
              <a:gd name="connsiteX41" fmla="*/ 8915 w 10000"/>
              <a:gd name="connsiteY41" fmla="*/ 8765 h 9769"/>
              <a:gd name="connsiteX42" fmla="*/ 8841 w 10000"/>
              <a:gd name="connsiteY42" fmla="*/ 8926 h 9769"/>
              <a:gd name="connsiteX43" fmla="*/ 8665 w 10000"/>
              <a:gd name="connsiteY43" fmla="*/ 9219 h 9769"/>
              <a:gd name="connsiteX44" fmla="*/ 8454 w 10000"/>
              <a:gd name="connsiteY44" fmla="*/ 9507 h 9769"/>
              <a:gd name="connsiteX45" fmla="*/ 8223 w 10000"/>
              <a:gd name="connsiteY45" fmla="*/ 9769 h 9769"/>
              <a:gd name="connsiteX46" fmla="*/ 9367 w 10000"/>
              <a:gd name="connsiteY46" fmla="*/ 9136 h 9769"/>
              <a:gd name="connsiteX47" fmla="*/ 9470 w 10000"/>
              <a:gd name="connsiteY47" fmla="*/ 8973 h 9769"/>
              <a:gd name="connsiteX48" fmla="*/ 9516 w 10000"/>
              <a:gd name="connsiteY48" fmla="*/ 8895 h 9769"/>
              <a:gd name="connsiteX49" fmla="*/ 9534 w 10000"/>
              <a:gd name="connsiteY49" fmla="*/ 8872 h 9769"/>
              <a:gd name="connsiteX50" fmla="*/ 9552 w 10000"/>
              <a:gd name="connsiteY50" fmla="*/ 8842 h 9769"/>
              <a:gd name="connsiteX51" fmla="*/ 9571 w 10000"/>
              <a:gd name="connsiteY51" fmla="*/ 8794 h 9769"/>
              <a:gd name="connsiteX52" fmla="*/ 9664 w 10000"/>
              <a:gd name="connsiteY52" fmla="*/ 8618 h 9769"/>
              <a:gd name="connsiteX53" fmla="*/ 9737 w 10000"/>
              <a:gd name="connsiteY53" fmla="*/ 8425 h 9769"/>
              <a:gd name="connsiteX54" fmla="*/ 9959 w 10000"/>
              <a:gd name="connsiteY54" fmla="*/ 7644 h 9769"/>
              <a:gd name="connsiteX55" fmla="*/ 9848 w 10000"/>
              <a:gd name="connsiteY55" fmla="*/ 5999 h 9769"/>
              <a:gd name="connsiteX0" fmla="*/ 9848 w 10000"/>
              <a:gd name="connsiteY0" fmla="*/ 6141 h 9732"/>
              <a:gd name="connsiteX1" fmla="*/ 9136 w 10000"/>
              <a:gd name="connsiteY1" fmla="*/ 4570 h 9732"/>
              <a:gd name="connsiteX2" fmla="*/ 8028 w 10000"/>
              <a:gd name="connsiteY2" fmla="*/ 3250 h 9732"/>
              <a:gd name="connsiteX3" fmla="*/ 6716 w 10000"/>
              <a:gd name="connsiteY3" fmla="*/ 2215 h 9732"/>
              <a:gd name="connsiteX4" fmla="*/ 5359 w 10000"/>
              <a:gd name="connsiteY4" fmla="*/ 1472 h 9732"/>
              <a:gd name="connsiteX5" fmla="*/ 5035 w 10000"/>
              <a:gd name="connsiteY5" fmla="*/ 1321 h 9732"/>
              <a:gd name="connsiteX6" fmla="*/ 4888 w 10000"/>
              <a:gd name="connsiteY6" fmla="*/ 1256 h 9732"/>
              <a:gd name="connsiteX7" fmla="*/ 4822 w 10000"/>
              <a:gd name="connsiteY7" fmla="*/ 1233 h 9732"/>
              <a:gd name="connsiteX8" fmla="*/ 4785 w 10000"/>
              <a:gd name="connsiteY8" fmla="*/ 1217 h 9732"/>
              <a:gd name="connsiteX9" fmla="*/ 4730 w 10000"/>
              <a:gd name="connsiteY9" fmla="*/ 1194 h 9732"/>
              <a:gd name="connsiteX10" fmla="*/ 4138 w 10000"/>
              <a:gd name="connsiteY10" fmla="*/ 981 h 9732"/>
              <a:gd name="connsiteX11" fmla="*/ 3603 w 10000"/>
              <a:gd name="connsiteY11" fmla="*/ 813 h 9732"/>
              <a:gd name="connsiteX12" fmla="*/ 3178 w 10000"/>
              <a:gd name="connsiteY12" fmla="*/ 710 h 9732"/>
              <a:gd name="connsiteX13" fmla="*/ 3326 w 10000"/>
              <a:gd name="connsiteY13" fmla="*/ 0 h 9732"/>
              <a:gd name="connsiteX14" fmla="*/ 0 w 10000"/>
              <a:gd name="connsiteY14" fmla="*/ 1028 h 9732"/>
              <a:gd name="connsiteX15" fmla="*/ 2697 w 10000"/>
              <a:gd name="connsiteY15" fmla="*/ 2974 h 9732"/>
              <a:gd name="connsiteX16" fmla="*/ 2864 w 10000"/>
              <a:gd name="connsiteY16" fmla="*/ 2191 h 9732"/>
              <a:gd name="connsiteX17" fmla="*/ 3132 w 10000"/>
              <a:gd name="connsiteY17" fmla="*/ 2238 h 9732"/>
              <a:gd name="connsiteX18" fmla="*/ 3594 w 10000"/>
              <a:gd name="connsiteY18" fmla="*/ 2339 h 9732"/>
              <a:gd name="connsiteX19" fmla="*/ 4120 w 10000"/>
              <a:gd name="connsiteY19" fmla="*/ 2481 h 9732"/>
              <a:gd name="connsiteX20" fmla="*/ 4129 w 10000"/>
              <a:gd name="connsiteY20" fmla="*/ 2481 h 9732"/>
              <a:gd name="connsiteX21" fmla="*/ 4138 w 10000"/>
              <a:gd name="connsiteY21" fmla="*/ 2488 h 9732"/>
              <a:gd name="connsiteX22" fmla="*/ 4129 w 10000"/>
              <a:gd name="connsiteY22" fmla="*/ 2481 h 9732"/>
              <a:gd name="connsiteX23" fmla="*/ 4138 w 10000"/>
              <a:gd name="connsiteY23" fmla="*/ 2481 h 9732"/>
              <a:gd name="connsiteX24" fmla="*/ 4176 w 10000"/>
              <a:gd name="connsiteY24" fmla="*/ 2498 h 9732"/>
              <a:gd name="connsiteX25" fmla="*/ 4250 w 10000"/>
              <a:gd name="connsiteY25" fmla="*/ 2521 h 9732"/>
              <a:gd name="connsiteX26" fmla="*/ 4407 w 10000"/>
              <a:gd name="connsiteY26" fmla="*/ 2569 h 9732"/>
              <a:gd name="connsiteX27" fmla="*/ 4693 w 10000"/>
              <a:gd name="connsiteY27" fmla="*/ 2673 h 9732"/>
              <a:gd name="connsiteX28" fmla="*/ 5904 w 10000"/>
              <a:gd name="connsiteY28" fmla="*/ 3208 h 9732"/>
              <a:gd name="connsiteX29" fmla="*/ 7123 w 10000"/>
              <a:gd name="connsiteY29" fmla="*/ 3999 h 9732"/>
              <a:gd name="connsiteX30" fmla="*/ 8203 w 10000"/>
              <a:gd name="connsiteY30" fmla="*/ 5059 h 9732"/>
              <a:gd name="connsiteX31" fmla="*/ 8962 w 10000"/>
              <a:gd name="connsiteY31" fmla="*/ 6349 h 9732"/>
              <a:gd name="connsiteX32" fmla="*/ 9211 w 10000"/>
              <a:gd name="connsiteY32" fmla="*/ 7769 h 9732"/>
              <a:gd name="connsiteX33" fmla="*/ 9100 w 10000"/>
              <a:gd name="connsiteY33" fmla="*/ 8474 h 9732"/>
              <a:gd name="connsiteX34" fmla="*/ 9054 w 10000"/>
              <a:gd name="connsiteY34" fmla="*/ 8641 h 9732"/>
              <a:gd name="connsiteX35" fmla="*/ 8989 w 10000"/>
              <a:gd name="connsiteY35" fmla="*/ 8807 h 9732"/>
              <a:gd name="connsiteX36" fmla="*/ 8971 w 10000"/>
              <a:gd name="connsiteY36" fmla="*/ 8854 h 9732"/>
              <a:gd name="connsiteX37" fmla="*/ 8971 w 10000"/>
              <a:gd name="connsiteY37" fmla="*/ 8862 h 9732"/>
              <a:gd name="connsiteX38" fmla="*/ 8971 w 10000"/>
              <a:gd name="connsiteY38" fmla="*/ 8868 h 9732"/>
              <a:gd name="connsiteX39" fmla="*/ 8971 w 10000"/>
              <a:gd name="connsiteY39" fmla="*/ 8862 h 9732"/>
              <a:gd name="connsiteX40" fmla="*/ 8962 w 10000"/>
              <a:gd name="connsiteY40" fmla="*/ 8883 h 9732"/>
              <a:gd name="connsiteX41" fmla="*/ 8915 w 10000"/>
              <a:gd name="connsiteY41" fmla="*/ 8972 h 9732"/>
              <a:gd name="connsiteX42" fmla="*/ 8841 w 10000"/>
              <a:gd name="connsiteY42" fmla="*/ 9137 h 9732"/>
              <a:gd name="connsiteX43" fmla="*/ 8665 w 10000"/>
              <a:gd name="connsiteY43" fmla="*/ 9437 h 9732"/>
              <a:gd name="connsiteX44" fmla="*/ 8454 w 10000"/>
              <a:gd name="connsiteY44" fmla="*/ 9732 h 9732"/>
              <a:gd name="connsiteX45" fmla="*/ 9367 w 10000"/>
              <a:gd name="connsiteY45" fmla="*/ 9352 h 9732"/>
              <a:gd name="connsiteX46" fmla="*/ 9470 w 10000"/>
              <a:gd name="connsiteY46" fmla="*/ 9185 h 9732"/>
              <a:gd name="connsiteX47" fmla="*/ 9516 w 10000"/>
              <a:gd name="connsiteY47" fmla="*/ 9105 h 9732"/>
              <a:gd name="connsiteX48" fmla="*/ 9534 w 10000"/>
              <a:gd name="connsiteY48" fmla="*/ 9082 h 9732"/>
              <a:gd name="connsiteX49" fmla="*/ 9552 w 10000"/>
              <a:gd name="connsiteY49" fmla="*/ 9051 h 9732"/>
              <a:gd name="connsiteX50" fmla="*/ 9571 w 10000"/>
              <a:gd name="connsiteY50" fmla="*/ 9002 h 9732"/>
              <a:gd name="connsiteX51" fmla="*/ 9664 w 10000"/>
              <a:gd name="connsiteY51" fmla="*/ 8822 h 9732"/>
              <a:gd name="connsiteX52" fmla="*/ 9737 w 10000"/>
              <a:gd name="connsiteY52" fmla="*/ 8624 h 9732"/>
              <a:gd name="connsiteX53" fmla="*/ 9959 w 10000"/>
              <a:gd name="connsiteY53" fmla="*/ 7825 h 9732"/>
              <a:gd name="connsiteX54" fmla="*/ 9848 w 10000"/>
              <a:gd name="connsiteY54" fmla="*/ 6141 h 9732"/>
              <a:gd name="connsiteX0" fmla="*/ 9848 w 10000"/>
              <a:gd name="connsiteY0" fmla="*/ 6310 h 9706"/>
              <a:gd name="connsiteX1" fmla="*/ 9136 w 10000"/>
              <a:gd name="connsiteY1" fmla="*/ 4696 h 9706"/>
              <a:gd name="connsiteX2" fmla="*/ 8028 w 10000"/>
              <a:gd name="connsiteY2" fmla="*/ 3339 h 9706"/>
              <a:gd name="connsiteX3" fmla="*/ 6716 w 10000"/>
              <a:gd name="connsiteY3" fmla="*/ 2276 h 9706"/>
              <a:gd name="connsiteX4" fmla="*/ 5359 w 10000"/>
              <a:gd name="connsiteY4" fmla="*/ 1513 h 9706"/>
              <a:gd name="connsiteX5" fmla="*/ 5035 w 10000"/>
              <a:gd name="connsiteY5" fmla="*/ 1357 h 9706"/>
              <a:gd name="connsiteX6" fmla="*/ 4888 w 10000"/>
              <a:gd name="connsiteY6" fmla="*/ 1291 h 9706"/>
              <a:gd name="connsiteX7" fmla="*/ 4822 w 10000"/>
              <a:gd name="connsiteY7" fmla="*/ 1267 h 9706"/>
              <a:gd name="connsiteX8" fmla="*/ 4785 w 10000"/>
              <a:gd name="connsiteY8" fmla="*/ 1251 h 9706"/>
              <a:gd name="connsiteX9" fmla="*/ 4730 w 10000"/>
              <a:gd name="connsiteY9" fmla="*/ 1227 h 9706"/>
              <a:gd name="connsiteX10" fmla="*/ 4138 w 10000"/>
              <a:gd name="connsiteY10" fmla="*/ 1008 h 9706"/>
              <a:gd name="connsiteX11" fmla="*/ 3603 w 10000"/>
              <a:gd name="connsiteY11" fmla="*/ 835 h 9706"/>
              <a:gd name="connsiteX12" fmla="*/ 3178 w 10000"/>
              <a:gd name="connsiteY12" fmla="*/ 730 h 9706"/>
              <a:gd name="connsiteX13" fmla="*/ 3326 w 10000"/>
              <a:gd name="connsiteY13" fmla="*/ 0 h 9706"/>
              <a:gd name="connsiteX14" fmla="*/ 0 w 10000"/>
              <a:gd name="connsiteY14" fmla="*/ 1056 h 9706"/>
              <a:gd name="connsiteX15" fmla="*/ 2697 w 10000"/>
              <a:gd name="connsiteY15" fmla="*/ 3056 h 9706"/>
              <a:gd name="connsiteX16" fmla="*/ 2864 w 10000"/>
              <a:gd name="connsiteY16" fmla="*/ 2251 h 9706"/>
              <a:gd name="connsiteX17" fmla="*/ 3132 w 10000"/>
              <a:gd name="connsiteY17" fmla="*/ 2300 h 9706"/>
              <a:gd name="connsiteX18" fmla="*/ 3594 w 10000"/>
              <a:gd name="connsiteY18" fmla="*/ 2403 h 9706"/>
              <a:gd name="connsiteX19" fmla="*/ 4120 w 10000"/>
              <a:gd name="connsiteY19" fmla="*/ 2549 h 9706"/>
              <a:gd name="connsiteX20" fmla="*/ 4129 w 10000"/>
              <a:gd name="connsiteY20" fmla="*/ 2549 h 9706"/>
              <a:gd name="connsiteX21" fmla="*/ 4138 w 10000"/>
              <a:gd name="connsiteY21" fmla="*/ 2557 h 9706"/>
              <a:gd name="connsiteX22" fmla="*/ 4129 w 10000"/>
              <a:gd name="connsiteY22" fmla="*/ 2549 h 9706"/>
              <a:gd name="connsiteX23" fmla="*/ 4138 w 10000"/>
              <a:gd name="connsiteY23" fmla="*/ 2549 h 9706"/>
              <a:gd name="connsiteX24" fmla="*/ 4176 w 10000"/>
              <a:gd name="connsiteY24" fmla="*/ 2567 h 9706"/>
              <a:gd name="connsiteX25" fmla="*/ 4250 w 10000"/>
              <a:gd name="connsiteY25" fmla="*/ 2590 h 9706"/>
              <a:gd name="connsiteX26" fmla="*/ 4407 w 10000"/>
              <a:gd name="connsiteY26" fmla="*/ 2640 h 9706"/>
              <a:gd name="connsiteX27" fmla="*/ 4693 w 10000"/>
              <a:gd name="connsiteY27" fmla="*/ 2747 h 9706"/>
              <a:gd name="connsiteX28" fmla="*/ 5904 w 10000"/>
              <a:gd name="connsiteY28" fmla="*/ 3296 h 9706"/>
              <a:gd name="connsiteX29" fmla="*/ 7123 w 10000"/>
              <a:gd name="connsiteY29" fmla="*/ 4109 h 9706"/>
              <a:gd name="connsiteX30" fmla="*/ 8203 w 10000"/>
              <a:gd name="connsiteY30" fmla="*/ 5198 h 9706"/>
              <a:gd name="connsiteX31" fmla="*/ 8962 w 10000"/>
              <a:gd name="connsiteY31" fmla="*/ 6524 h 9706"/>
              <a:gd name="connsiteX32" fmla="*/ 9211 w 10000"/>
              <a:gd name="connsiteY32" fmla="*/ 7983 h 9706"/>
              <a:gd name="connsiteX33" fmla="*/ 9100 w 10000"/>
              <a:gd name="connsiteY33" fmla="*/ 8707 h 9706"/>
              <a:gd name="connsiteX34" fmla="*/ 9054 w 10000"/>
              <a:gd name="connsiteY34" fmla="*/ 8879 h 9706"/>
              <a:gd name="connsiteX35" fmla="*/ 8989 w 10000"/>
              <a:gd name="connsiteY35" fmla="*/ 9050 h 9706"/>
              <a:gd name="connsiteX36" fmla="*/ 8971 w 10000"/>
              <a:gd name="connsiteY36" fmla="*/ 9098 h 9706"/>
              <a:gd name="connsiteX37" fmla="*/ 8971 w 10000"/>
              <a:gd name="connsiteY37" fmla="*/ 9106 h 9706"/>
              <a:gd name="connsiteX38" fmla="*/ 8971 w 10000"/>
              <a:gd name="connsiteY38" fmla="*/ 9112 h 9706"/>
              <a:gd name="connsiteX39" fmla="*/ 8971 w 10000"/>
              <a:gd name="connsiteY39" fmla="*/ 9106 h 9706"/>
              <a:gd name="connsiteX40" fmla="*/ 8962 w 10000"/>
              <a:gd name="connsiteY40" fmla="*/ 9128 h 9706"/>
              <a:gd name="connsiteX41" fmla="*/ 8915 w 10000"/>
              <a:gd name="connsiteY41" fmla="*/ 9219 h 9706"/>
              <a:gd name="connsiteX42" fmla="*/ 8841 w 10000"/>
              <a:gd name="connsiteY42" fmla="*/ 9389 h 9706"/>
              <a:gd name="connsiteX43" fmla="*/ 8665 w 10000"/>
              <a:gd name="connsiteY43" fmla="*/ 9697 h 9706"/>
              <a:gd name="connsiteX44" fmla="*/ 9367 w 10000"/>
              <a:gd name="connsiteY44" fmla="*/ 9610 h 9706"/>
              <a:gd name="connsiteX45" fmla="*/ 9470 w 10000"/>
              <a:gd name="connsiteY45" fmla="*/ 9438 h 9706"/>
              <a:gd name="connsiteX46" fmla="*/ 9516 w 10000"/>
              <a:gd name="connsiteY46" fmla="*/ 9356 h 9706"/>
              <a:gd name="connsiteX47" fmla="*/ 9534 w 10000"/>
              <a:gd name="connsiteY47" fmla="*/ 9332 h 9706"/>
              <a:gd name="connsiteX48" fmla="*/ 9552 w 10000"/>
              <a:gd name="connsiteY48" fmla="*/ 9300 h 9706"/>
              <a:gd name="connsiteX49" fmla="*/ 9571 w 10000"/>
              <a:gd name="connsiteY49" fmla="*/ 9250 h 9706"/>
              <a:gd name="connsiteX50" fmla="*/ 9664 w 10000"/>
              <a:gd name="connsiteY50" fmla="*/ 9065 h 9706"/>
              <a:gd name="connsiteX51" fmla="*/ 9737 w 10000"/>
              <a:gd name="connsiteY51" fmla="*/ 8861 h 9706"/>
              <a:gd name="connsiteX52" fmla="*/ 9959 w 10000"/>
              <a:gd name="connsiteY52" fmla="*/ 8040 h 9706"/>
              <a:gd name="connsiteX53" fmla="*/ 9848 w 10000"/>
              <a:gd name="connsiteY53" fmla="*/ 6310 h 9706"/>
              <a:gd name="connsiteX0" fmla="*/ 9848 w 10000"/>
              <a:gd name="connsiteY0" fmla="*/ 6501 h 9901"/>
              <a:gd name="connsiteX1" fmla="*/ 9136 w 10000"/>
              <a:gd name="connsiteY1" fmla="*/ 4838 h 9901"/>
              <a:gd name="connsiteX2" fmla="*/ 8028 w 10000"/>
              <a:gd name="connsiteY2" fmla="*/ 3440 h 9901"/>
              <a:gd name="connsiteX3" fmla="*/ 6716 w 10000"/>
              <a:gd name="connsiteY3" fmla="*/ 2345 h 9901"/>
              <a:gd name="connsiteX4" fmla="*/ 5359 w 10000"/>
              <a:gd name="connsiteY4" fmla="*/ 1559 h 9901"/>
              <a:gd name="connsiteX5" fmla="*/ 5035 w 10000"/>
              <a:gd name="connsiteY5" fmla="*/ 1398 h 9901"/>
              <a:gd name="connsiteX6" fmla="*/ 4888 w 10000"/>
              <a:gd name="connsiteY6" fmla="*/ 1330 h 9901"/>
              <a:gd name="connsiteX7" fmla="*/ 4822 w 10000"/>
              <a:gd name="connsiteY7" fmla="*/ 1305 h 9901"/>
              <a:gd name="connsiteX8" fmla="*/ 4785 w 10000"/>
              <a:gd name="connsiteY8" fmla="*/ 1289 h 9901"/>
              <a:gd name="connsiteX9" fmla="*/ 4730 w 10000"/>
              <a:gd name="connsiteY9" fmla="*/ 1264 h 9901"/>
              <a:gd name="connsiteX10" fmla="*/ 4138 w 10000"/>
              <a:gd name="connsiteY10" fmla="*/ 1039 h 9901"/>
              <a:gd name="connsiteX11" fmla="*/ 3603 w 10000"/>
              <a:gd name="connsiteY11" fmla="*/ 860 h 9901"/>
              <a:gd name="connsiteX12" fmla="*/ 3178 w 10000"/>
              <a:gd name="connsiteY12" fmla="*/ 752 h 9901"/>
              <a:gd name="connsiteX13" fmla="*/ 3326 w 10000"/>
              <a:gd name="connsiteY13" fmla="*/ 0 h 9901"/>
              <a:gd name="connsiteX14" fmla="*/ 0 w 10000"/>
              <a:gd name="connsiteY14" fmla="*/ 1088 h 9901"/>
              <a:gd name="connsiteX15" fmla="*/ 2697 w 10000"/>
              <a:gd name="connsiteY15" fmla="*/ 3149 h 9901"/>
              <a:gd name="connsiteX16" fmla="*/ 2864 w 10000"/>
              <a:gd name="connsiteY16" fmla="*/ 2319 h 9901"/>
              <a:gd name="connsiteX17" fmla="*/ 3132 w 10000"/>
              <a:gd name="connsiteY17" fmla="*/ 2370 h 9901"/>
              <a:gd name="connsiteX18" fmla="*/ 3594 w 10000"/>
              <a:gd name="connsiteY18" fmla="*/ 2476 h 9901"/>
              <a:gd name="connsiteX19" fmla="*/ 4120 w 10000"/>
              <a:gd name="connsiteY19" fmla="*/ 2626 h 9901"/>
              <a:gd name="connsiteX20" fmla="*/ 4129 w 10000"/>
              <a:gd name="connsiteY20" fmla="*/ 2626 h 9901"/>
              <a:gd name="connsiteX21" fmla="*/ 4138 w 10000"/>
              <a:gd name="connsiteY21" fmla="*/ 2634 h 9901"/>
              <a:gd name="connsiteX22" fmla="*/ 4129 w 10000"/>
              <a:gd name="connsiteY22" fmla="*/ 2626 h 9901"/>
              <a:gd name="connsiteX23" fmla="*/ 4138 w 10000"/>
              <a:gd name="connsiteY23" fmla="*/ 2626 h 9901"/>
              <a:gd name="connsiteX24" fmla="*/ 4176 w 10000"/>
              <a:gd name="connsiteY24" fmla="*/ 2645 h 9901"/>
              <a:gd name="connsiteX25" fmla="*/ 4250 w 10000"/>
              <a:gd name="connsiteY25" fmla="*/ 2668 h 9901"/>
              <a:gd name="connsiteX26" fmla="*/ 4407 w 10000"/>
              <a:gd name="connsiteY26" fmla="*/ 2720 h 9901"/>
              <a:gd name="connsiteX27" fmla="*/ 4693 w 10000"/>
              <a:gd name="connsiteY27" fmla="*/ 2830 h 9901"/>
              <a:gd name="connsiteX28" fmla="*/ 5904 w 10000"/>
              <a:gd name="connsiteY28" fmla="*/ 3396 h 9901"/>
              <a:gd name="connsiteX29" fmla="*/ 7123 w 10000"/>
              <a:gd name="connsiteY29" fmla="*/ 4233 h 9901"/>
              <a:gd name="connsiteX30" fmla="*/ 8203 w 10000"/>
              <a:gd name="connsiteY30" fmla="*/ 5355 h 9901"/>
              <a:gd name="connsiteX31" fmla="*/ 8962 w 10000"/>
              <a:gd name="connsiteY31" fmla="*/ 6722 h 9901"/>
              <a:gd name="connsiteX32" fmla="*/ 9211 w 10000"/>
              <a:gd name="connsiteY32" fmla="*/ 8225 h 9901"/>
              <a:gd name="connsiteX33" fmla="*/ 9100 w 10000"/>
              <a:gd name="connsiteY33" fmla="*/ 8971 h 9901"/>
              <a:gd name="connsiteX34" fmla="*/ 9054 w 10000"/>
              <a:gd name="connsiteY34" fmla="*/ 9148 h 9901"/>
              <a:gd name="connsiteX35" fmla="*/ 8989 w 10000"/>
              <a:gd name="connsiteY35" fmla="*/ 9324 h 9901"/>
              <a:gd name="connsiteX36" fmla="*/ 8971 w 10000"/>
              <a:gd name="connsiteY36" fmla="*/ 9374 h 9901"/>
              <a:gd name="connsiteX37" fmla="*/ 8971 w 10000"/>
              <a:gd name="connsiteY37" fmla="*/ 9382 h 9901"/>
              <a:gd name="connsiteX38" fmla="*/ 8971 w 10000"/>
              <a:gd name="connsiteY38" fmla="*/ 9388 h 9901"/>
              <a:gd name="connsiteX39" fmla="*/ 8971 w 10000"/>
              <a:gd name="connsiteY39" fmla="*/ 9382 h 9901"/>
              <a:gd name="connsiteX40" fmla="*/ 8962 w 10000"/>
              <a:gd name="connsiteY40" fmla="*/ 9404 h 9901"/>
              <a:gd name="connsiteX41" fmla="*/ 8915 w 10000"/>
              <a:gd name="connsiteY41" fmla="*/ 9498 h 9901"/>
              <a:gd name="connsiteX42" fmla="*/ 8841 w 10000"/>
              <a:gd name="connsiteY42" fmla="*/ 9673 h 9901"/>
              <a:gd name="connsiteX43" fmla="*/ 9367 w 10000"/>
              <a:gd name="connsiteY43" fmla="*/ 9901 h 9901"/>
              <a:gd name="connsiteX44" fmla="*/ 9470 w 10000"/>
              <a:gd name="connsiteY44" fmla="*/ 9724 h 9901"/>
              <a:gd name="connsiteX45" fmla="*/ 9516 w 10000"/>
              <a:gd name="connsiteY45" fmla="*/ 9639 h 9901"/>
              <a:gd name="connsiteX46" fmla="*/ 9534 w 10000"/>
              <a:gd name="connsiteY46" fmla="*/ 9615 h 9901"/>
              <a:gd name="connsiteX47" fmla="*/ 9552 w 10000"/>
              <a:gd name="connsiteY47" fmla="*/ 9582 h 9901"/>
              <a:gd name="connsiteX48" fmla="*/ 9571 w 10000"/>
              <a:gd name="connsiteY48" fmla="*/ 9530 h 9901"/>
              <a:gd name="connsiteX49" fmla="*/ 9664 w 10000"/>
              <a:gd name="connsiteY49" fmla="*/ 9340 h 9901"/>
              <a:gd name="connsiteX50" fmla="*/ 9737 w 10000"/>
              <a:gd name="connsiteY50" fmla="*/ 9129 h 9901"/>
              <a:gd name="connsiteX51" fmla="*/ 9959 w 10000"/>
              <a:gd name="connsiteY51" fmla="*/ 8284 h 9901"/>
              <a:gd name="connsiteX52" fmla="*/ 9848 w 10000"/>
              <a:gd name="connsiteY52" fmla="*/ 6501 h 9901"/>
              <a:gd name="connsiteX0" fmla="*/ 9848 w 10000"/>
              <a:gd name="connsiteY0" fmla="*/ 6566 h 10000"/>
              <a:gd name="connsiteX1" fmla="*/ 9136 w 10000"/>
              <a:gd name="connsiteY1" fmla="*/ 4886 h 10000"/>
              <a:gd name="connsiteX2" fmla="*/ 8028 w 10000"/>
              <a:gd name="connsiteY2" fmla="*/ 3474 h 10000"/>
              <a:gd name="connsiteX3" fmla="*/ 6716 w 10000"/>
              <a:gd name="connsiteY3" fmla="*/ 2368 h 10000"/>
              <a:gd name="connsiteX4" fmla="*/ 5359 w 10000"/>
              <a:gd name="connsiteY4" fmla="*/ 1575 h 10000"/>
              <a:gd name="connsiteX5" fmla="*/ 5035 w 10000"/>
              <a:gd name="connsiteY5" fmla="*/ 1412 h 10000"/>
              <a:gd name="connsiteX6" fmla="*/ 4888 w 10000"/>
              <a:gd name="connsiteY6" fmla="*/ 1343 h 10000"/>
              <a:gd name="connsiteX7" fmla="*/ 4822 w 10000"/>
              <a:gd name="connsiteY7" fmla="*/ 1318 h 10000"/>
              <a:gd name="connsiteX8" fmla="*/ 4785 w 10000"/>
              <a:gd name="connsiteY8" fmla="*/ 1302 h 10000"/>
              <a:gd name="connsiteX9" fmla="*/ 4730 w 10000"/>
              <a:gd name="connsiteY9" fmla="*/ 1277 h 10000"/>
              <a:gd name="connsiteX10" fmla="*/ 4138 w 10000"/>
              <a:gd name="connsiteY10" fmla="*/ 1049 h 10000"/>
              <a:gd name="connsiteX11" fmla="*/ 3603 w 10000"/>
              <a:gd name="connsiteY11" fmla="*/ 869 h 10000"/>
              <a:gd name="connsiteX12" fmla="*/ 3178 w 10000"/>
              <a:gd name="connsiteY12" fmla="*/ 760 h 10000"/>
              <a:gd name="connsiteX13" fmla="*/ 3326 w 10000"/>
              <a:gd name="connsiteY13" fmla="*/ 0 h 10000"/>
              <a:gd name="connsiteX14" fmla="*/ 0 w 10000"/>
              <a:gd name="connsiteY14" fmla="*/ 1099 h 10000"/>
              <a:gd name="connsiteX15" fmla="*/ 2697 w 10000"/>
              <a:gd name="connsiteY15" fmla="*/ 3180 h 10000"/>
              <a:gd name="connsiteX16" fmla="*/ 2864 w 10000"/>
              <a:gd name="connsiteY16" fmla="*/ 2342 h 10000"/>
              <a:gd name="connsiteX17" fmla="*/ 3132 w 10000"/>
              <a:gd name="connsiteY17" fmla="*/ 2394 h 10000"/>
              <a:gd name="connsiteX18" fmla="*/ 3594 w 10000"/>
              <a:gd name="connsiteY18" fmla="*/ 2501 h 10000"/>
              <a:gd name="connsiteX19" fmla="*/ 4120 w 10000"/>
              <a:gd name="connsiteY19" fmla="*/ 2652 h 10000"/>
              <a:gd name="connsiteX20" fmla="*/ 4129 w 10000"/>
              <a:gd name="connsiteY20" fmla="*/ 2652 h 10000"/>
              <a:gd name="connsiteX21" fmla="*/ 4138 w 10000"/>
              <a:gd name="connsiteY21" fmla="*/ 2660 h 10000"/>
              <a:gd name="connsiteX22" fmla="*/ 4129 w 10000"/>
              <a:gd name="connsiteY22" fmla="*/ 2652 h 10000"/>
              <a:gd name="connsiteX23" fmla="*/ 4138 w 10000"/>
              <a:gd name="connsiteY23" fmla="*/ 2652 h 10000"/>
              <a:gd name="connsiteX24" fmla="*/ 4176 w 10000"/>
              <a:gd name="connsiteY24" fmla="*/ 2671 h 10000"/>
              <a:gd name="connsiteX25" fmla="*/ 4250 w 10000"/>
              <a:gd name="connsiteY25" fmla="*/ 2695 h 10000"/>
              <a:gd name="connsiteX26" fmla="*/ 4407 w 10000"/>
              <a:gd name="connsiteY26" fmla="*/ 2747 h 10000"/>
              <a:gd name="connsiteX27" fmla="*/ 4693 w 10000"/>
              <a:gd name="connsiteY27" fmla="*/ 2858 h 10000"/>
              <a:gd name="connsiteX28" fmla="*/ 5904 w 10000"/>
              <a:gd name="connsiteY28" fmla="*/ 3430 h 10000"/>
              <a:gd name="connsiteX29" fmla="*/ 7123 w 10000"/>
              <a:gd name="connsiteY29" fmla="*/ 4275 h 10000"/>
              <a:gd name="connsiteX30" fmla="*/ 8203 w 10000"/>
              <a:gd name="connsiteY30" fmla="*/ 5409 h 10000"/>
              <a:gd name="connsiteX31" fmla="*/ 8962 w 10000"/>
              <a:gd name="connsiteY31" fmla="*/ 6789 h 10000"/>
              <a:gd name="connsiteX32" fmla="*/ 9211 w 10000"/>
              <a:gd name="connsiteY32" fmla="*/ 8307 h 10000"/>
              <a:gd name="connsiteX33" fmla="*/ 9100 w 10000"/>
              <a:gd name="connsiteY33" fmla="*/ 9061 h 10000"/>
              <a:gd name="connsiteX34" fmla="*/ 9054 w 10000"/>
              <a:gd name="connsiteY34" fmla="*/ 9239 h 10000"/>
              <a:gd name="connsiteX35" fmla="*/ 8989 w 10000"/>
              <a:gd name="connsiteY35" fmla="*/ 9417 h 10000"/>
              <a:gd name="connsiteX36" fmla="*/ 8971 w 10000"/>
              <a:gd name="connsiteY36" fmla="*/ 9468 h 10000"/>
              <a:gd name="connsiteX37" fmla="*/ 8971 w 10000"/>
              <a:gd name="connsiteY37" fmla="*/ 9476 h 10000"/>
              <a:gd name="connsiteX38" fmla="*/ 8971 w 10000"/>
              <a:gd name="connsiteY38" fmla="*/ 9482 h 10000"/>
              <a:gd name="connsiteX39" fmla="*/ 8971 w 10000"/>
              <a:gd name="connsiteY39" fmla="*/ 9476 h 10000"/>
              <a:gd name="connsiteX40" fmla="*/ 8962 w 10000"/>
              <a:gd name="connsiteY40" fmla="*/ 9498 h 10000"/>
              <a:gd name="connsiteX41" fmla="*/ 8915 w 10000"/>
              <a:gd name="connsiteY41" fmla="*/ 9593 h 10000"/>
              <a:gd name="connsiteX42" fmla="*/ 8841 w 10000"/>
              <a:gd name="connsiteY42" fmla="*/ 9770 h 10000"/>
              <a:gd name="connsiteX43" fmla="*/ 9367 w 10000"/>
              <a:gd name="connsiteY43" fmla="*/ 10000 h 10000"/>
              <a:gd name="connsiteX44" fmla="*/ 9516 w 10000"/>
              <a:gd name="connsiteY44" fmla="*/ 9735 h 10000"/>
              <a:gd name="connsiteX45" fmla="*/ 9534 w 10000"/>
              <a:gd name="connsiteY45" fmla="*/ 9711 h 10000"/>
              <a:gd name="connsiteX46" fmla="*/ 9552 w 10000"/>
              <a:gd name="connsiteY46" fmla="*/ 9678 h 10000"/>
              <a:gd name="connsiteX47" fmla="*/ 9571 w 10000"/>
              <a:gd name="connsiteY47" fmla="*/ 9625 h 10000"/>
              <a:gd name="connsiteX48" fmla="*/ 9664 w 10000"/>
              <a:gd name="connsiteY48" fmla="*/ 9433 h 10000"/>
              <a:gd name="connsiteX49" fmla="*/ 9737 w 10000"/>
              <a:gd name="connsiteY49" fmla="*/ 9220 h 10000"/>
              <a:gd name="connsiteX50" fmla="*/ 9959 w 10000"/>
              <a:gd name="connsiteY50" fmla="*/ 8367 h 10000"/>
              <a:gd name="connsiteX51" fmla="*/ 9848 w 10000"/>
              <a:gd name="connsiteY51" fmla="*/ 6566 h 10000"/>
              <a:gd name="connsiteX0" fmla="*/ 9848 w 10000"/>
              <a:gd name="connsiteY0" fmla="*/ 6566 h 10001"/>
              <a:gd name="connsiteX1" fmla="*/ 9136 w 10000"/>
              <a:gd name="connsiteY1" fmla="*/ 4886 h 10001"/>
              <a:gd name="connsiteX2" fmla="*/ 8028 w 10000"/>
              <a:gd name="connsiteY2" fmla="*/ 3474 h 10001"/>
              <a:gd name="connsiteX3" fmla="*/ 6716 w 10000"/>
              <a:gd name="connsiteY3" fmla="*/ 2368 h 10001"/>
              <a:gd name="connsiteX4" fmla="*/ 5359 w 10000"/>
              <a:gd name="connsiteY4" fmla="*/ 1575 h 10001"/>
              <a:gd name="connsiteX5" fmla="*/ 5035 w 10000"/>
              <a:gd name="connsiteY5" fmla="*/ 1412 h 10001"/>
              <a:gd name="connsiteX6" fmla="*/ 4888 w 10000"/>
              <a:gd name="connsiteY6" fmla="*/ 1343 h 10001"/>
              <a:gd name="connsiteX7" fmla="*/ 4822 w 10000"/>
              <a:gd name="connsiteY7" fmla="*/ 1318 h 10001"/>
              <a:gd name="connsiteX8" fmla="*/ 4785 w 10000"/>
              <a:gd name="connsiteY8" fmla="*/ 1302 h 10001"/>
              <a:gd name="connsiteX9" fmla="*/ 4730 w 10000"/>
              <a:gd name="connsiteY9" fmla="*/ 1277 h 10001"/>
              <a:gd name="connsiteX10" fmla="*/ 4138 w 10000"/>
              <a:gd name="connsiteY10" fmla="*/ 1049 h 10001"/>
              <a:gd name="connsiteX11" fmla="*/ 3603 w 10000"/>
              <a:gd name="connsiteY11" fmla="*/ 869 h 10001"/>
              <a:gd name="connsiteX12" fmla="*/ 3178 w 10000"/>
              <a:gd name="connsiteY12" fmla="*/ 760 h 10001"/>
              <a:gd name="connsiteX13" fmla="*/ 3326 w 10000"/>
              <a:gd name="connsiteY13" fmla="*/ 0 h 10001"/>
              <a:gd name="connsiteX14" fmla="*/ 0 w 10000"/>
              <a:gd name="connsiteY14" fmla="*/ 1099 h 10001"/>
              <a:gd name="connsiteX15" fmla="*/ 2697 w 10000"/>
              <a:gd name="connsiteY15" fmla="*/ 3180 h 10001"/>
              <a:gd name="connsiteX16" fmla="*/ 2864 w 10000"/>
              <a:gd name="connsiteY16" fmla="*/ 2342 h 10001"/>
              <a:gd name="connsiteX17" fmla="*/ 3132 w 10000"/>
              <a:gd name="connsiteY17" fmla="*/ 2394 h 10001"/>
              <a:gd name="connsiteX18" fmla="*/ 3594 w 10000"/>
              <a:gd name="connsiteY18" fmla="*/ 2501 h 10001"/>
              <a:gd name="connsiteX19" fmla="*/ 4120 w 10000"/>
              <a:gd name="connsiteY19" fmla="*/ 2652 h 10001"/>
              <a:gd name="connsiteX20" fmla="*/ 4129 w 10000"/>
              <a:gd name="connsiteY20" fmla="*/ 2652 h 10001"/>
              <a:gd name="connsiteX21" fmla="*/ 4138 w 10000"/>
              <a:gd name="connsiteY21" fmla="*/ 2660 h 10001"/>
              <a:gd name="connsiteX22" fmla="*/ 4129 w 10000"/>
              <a:gd name="connsiteY22" fmla="*/ 2652 h 10001"/>
              <a:gd name="connsiteX23" fmla="*/ 4138 w 10000"/>
              <a:gd name="connsiteY23" fmla="*/ 2652 h 10001"/>
              <a:gd name="connsiteX24" fmla="*/ 4176 w 10000"/>
              <a:gd name="connsiteY24" fmla="*/ 2671 h 10001"/>
              <a:gd name="connsiteX25" fmla="*/ 4250 w 10000"/>
              <a:gd name="connsiteY25" fmla="*/ 2695 h 10001"/>
              <a:gd name="connsiteX26" fmla="*/ 4407 w 10000"/>
              <a:gd name="connsiteY26" fmla="*/ 2747 h 10001"/>
              <a:gd name="connsiteX27" fmla="*/ 4693 w 10000"/>
              <a:gd name="connsiteY27" fmla="*/ 2858 h 10001"/>
              <a:gd name="connsiteX28" fmla="*/ 5904 w 10000"/>
              <a:gd name="connsiteY28" fmla="*/ 3430 h 10001"/>
              <a:gd name="connsiteX29" fmla="*/ 7123 w 10000"/>
              <a:gd name="connsiteY29" fmla="*/ 4275 h 10001"/>
              <a:gd name="connsiteX30" fmla="*/ 8203 w 10000"/>
              <a:gd name="connsiteY30" fmla="*/ 5409 h 10001"/>
              <a:gd name="connsiteX31" fmla="*/ 8962 w 10000"/>
              <a:gd name="connsiteY31" fmla="*/ 6789 h 10001"/>
              <a:gd name="connsiteX32" fmla="*/ 9211 w 10000"/>
              <a:gd name="connsiteY32" fmla="*/ 8307 h 10001"/>
              <a:gd name="connsiteX33" fmla="*/ 9100 w 10000"/>
              <a:gd name="connsiteY33" fmla="*/ 9061 h 10001"/>
              <a:gd name="connsiteX34" fmla="*/ 9054 w 10000"/>
              <a:gd name="connsiteY34" fmla="*/ 9239 h 10001"/>
              <a:gd name="connsiteX35" fmla="*/ 8989 w 10000"/>
              <a:gd name="connsiteY35" fmla="*/ 9417 h 10001"/>
              <a:gd name="connsiteX36" fmla="*/ 8971 w 10000"/>
              <a:gd name="connsiteY36" fmla="*/ 9468 h 10001"/>
              <a:gd name="connsiteX37" fmla="*/ 8971 w 10000"/>
              <a:gd name="connsiteY37" fmla="*/ 9476 h 10001"/>
              <a:gd name="connsiteX38" fmla="*/ 8971 w 10000"/>
              <a:gd name="connsiteY38" fmla="*/ 9482 h 10001"/>
              <a:gd name="connsiteX39" fmla="*/ 8971 w 10000"/>
              <a:gd name="connsiteY39" fmla="*/ 9476 h 10001"/>
              <a:gd name="connsiteX40" fmla="*/ 8962 w 10000"/>
              <a:gd name="connsiteY40" fmla="*/ 9498 h 10001"/>
              <a:gd name="connsiteX41" fmla="*/ 8915 w 10000"/>
              <a:gd name="connsiteY41" fmla="*/ 9593 h 10001"/>
              <a:gd name="connsiteX42" fmla="*/ 9367 w 10000"/>
              <a:gd name="connsiteY42" fmla="*/ 10000 h 10001"/>
              <a:gd name="connsiteX43" fmla="*/ 9516 w 10000"/>
              <a:gd name="connsiteY43" fmla="*/ 9735 h 10001"/>
              <a:gd name="connsiteX44" fmla="*/ 9534 w 10000"/>
              <a:gd name="connsiteY44" fmla="*/ 9711 h 10001"/>
              <a:gd name="connsiteX45" fmla="*/ 9552 w 10000"/>
              <a:gd name="connsiteY45" fmla="*/ 9678 h 10001"/>
              <a:gd name="connsiteX46" fmla="*/ 9571 w 10000"/>
              <a:gd name="connsiteY46" fmla="*/ 9625 h 10001"/>
              <a:gd name="connsiteX47" fmla="*/ 9664 w 10000"/>
              <a:gd name="connsiteY47" fmla="*/ 9433 h 10001"/>
              <a:gd name="connsiteX48" fmla="*/ 9737 w 10000"/>
              <a:gd name="connsiteY48" fmla="*/ 9220 h 10001"/>
              <a:gd name="connsiteX49" fmla="*/ 9959 w 10000"/>
              <a:gd name="connsiteY49" fmla="*/ 8367 h 10001"/>
              <a:gd name="connsiteX50" fmla="*/ 9848 w 10000"/>
              <a:gd name="connsiteY50" fmla="*/ 6566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0000" h="10001">
                <a:moveTo>
                  <a:pt x="9848" y="6566"/>
                </a:moveTo>
                <a:cubicBezTo>
                  <a:pt x="9701" y="5977"/>
                  <a:pt x="9451" y="5401"/>
                  <a:pt x="9136" y="4886"/>
                </a:cubicBezTo>
                <a:cubicBezTo>
                  <a:pt x="8823" y="4359"/>
                  <a:pt x="8434" y="3895"/>
                  <a:pt x="8028" y="3474"/>
                </a:cubicBezTo>
                <a:cubicBezTo>
                  <a:pt x="7612" y="3052"/>
                  <a:pt x="7160" y="2678"/>
                  <a:pt x="6716" y="2368"/>
                </a:cubicBezTo>
                <a:cubicBezTo>
                  <a:pt x="6254" y="2053"/>
                  <a:pt x="5811" y="1793"/>
                  <a:pt x="5359" y="1575"/>
                </a:cubicBezTo>
                <a:cubicBezTo>
                  <a:pt x="5247" y="1514"/>
                  <a:pt x="5128" y="1452"/>
                  <a:pt x="5035" y="1412"/>
                </a:cubicBezTo>
                <a:cubicBezTo>
                  <a:pt x="4989" y="1397"/>
                  <a:pt x="4943" y="1368"/>
                  <a:pt x="4888" y="1343"/>
                </a:cubicBezTo>
                <a:cubicBezTo>
                  <a:pt x="4866" y="1333"/>
                  <a:pt x="4844" y="1327"/>
                  <a:pt x="4822" y="1318"/>
                </a:cubicBezTo>
                <a:cubicBezTo>
                  <a:pt x="4810" y="1313"/>
                  <a:pt x="4797" y="1308"/>
                  <a:pt x="4785" y="1302"/>
                </a:cubicBezTo>
                <a:cubicBezTo>
                  <a:pt x="4767" y="1293"/>
                  <a:pt x="4748" y="1286"/>
                  <a:pt x="4730" y="1277"/>
                </a:cubicBezTo>
                <a:cubicBezTo>
                  <a:pt x="4518" y="1200"/>
                  <a:pt x="4323" y="1115"/>
                  <a:pt x="4138" y="1049"/>
                </a:cubicBezTo>
                <a:cubicBezTo>
                  <a:pt x="3945" y="988"/>
                  <a:pt x="3760" y="929"/>
                  <a:pt x="3603" y="869"/>
                </a:cubicBezTo>
                <a:cubicBezTo>
                  <a:pt x="3456" y="827"/>
                  <a:pt x="3307" y="794"/>
                  <a:pt x="3178" y="760"/>
                </a:cubicBezTo>
                <a:cubicBezTo>
                  <a:pt x="3227" y="507"/>
                  <a:pt x="3277" y="251"/>
                  <a:pt x="3326" y="0"/>
                </a:cubicBezTo>
                <a:lnTo>
                  <a:pt x="0" y="1099"/>
                </a:lnTo>
                <a:lnTo>
                  <a:pt x="2697" y="3180"/>
                </a:lnTo>
                <a:cubicBezTo>
                  <a:pt x="2753" y="2901"/>
                  <a:pt x="2808" y="2622"/>
                  <a:pt x="2864" y="2342"/>
                </a:cubicBezTo>
                <a:cubicBezTo>
                  <a:pt x="2947" y="2360"/>
                  <a:pt x="3030" y="2368"/>
                  <a:pt x="3132" y="2394"/>
                </a:cubicBezTo>
                <a:lnTo>
                  <a:pt x="3594" y="2501"/>
                </a:lnTo>
                <a:cubicBezTo>
                  <a:pt x="3760" y="2545"/>
                  <a:pt x="3936" y="2597"/>
                  <a:pt x="4120" y="2652"/>
                </a:cubicBezTo>
                <a:lnTo>
                  <a:pt x="4129" y="2652"/>
                </a:lnTo>
                <a:cubicBezTo>
                  <a:pt x="4132" y="2654"/>
                  <a:pt x="4135" y="2657"/>
                  <a:pt x="4138" y="2660"/>
                </a:cubicBezTo>
                <a:cubicBezTo>
                  <a:pt x="4111" y="2645"/>
                  <a:pt x="4138" y="2652"/>
                  <a:pt x="4129" y="2652"/>
                </a:cubicBezTo>
                <a:lnTo>
                  <a:pt x="4138" y="2652"/>
                </a:lnTo>
                <a:cubicBezTo>
                  <a:pt x="4150" y="2657"/>
                  <a:pt x="4163" y="2665"/>
                  <a:pt x="4176" y="2671"/>
                </a:cubicBezTo>
                <a:lnTo>
                  <a:pt x="4250" y="2695"/>
                </a:lnTo>
                <a:cubicBezTo>
                  <a:pt x="4296" y="2715"/>
                  <a:pt x="4351" y="2730"/>
                  <a:pt x="4407" y="2747"/>
                </a:cubicBezTo>
                <a:cubicBezTo>
                  <a:pt x="4508" y="2789"/>
                  <a:pt x="4591" y="2824"/>
                  <a:pt x="4693" y="2858"/>
                </a:cubicBezTo>
                <a:cubicBezTo>
                  <a:pt x="5072" y="3000"/>
                  <a:pt x="5488" y="3195"/>
                  <a:pt x="5904" y="3430"/>
                </a:cubicBezTo>
                <a:cubicBezTo>
                  <a:pt x="6309" y="3671"/>
                  <a:pt x="6735" y="3946"/>
                  <a:pt x="7123" y="4275"/>
                </a:cubicBezTo>
                <a:cubicBezTo>
                  <a:pt x="7511" y="4614"/>
                  <a:pt x="7889" y="4988"/>
                  <a:pt x="8203" y="5409"/>
                </a:cubicBezTo>
                <a:cubicBezTo>
                  <a:pt x="8518" y="5832"/>
                  <a:pt x="8777" y="6296"/>
                  <a:pt x="8962" y="6789"/>
                </a:cubicBezTo>
                <a:cubicBezTo>
                  <a:pt x="9136" y="7277"/>
                  <a:pt x="9229" y="7793"/>
                  <a:pt x="9211" y="8307"/>
                </a:cubicBezTo>
                <a:cubicBezTo>
                  <a:pt x="9202" y="8563"/>
                  <a:pt x="9155" y="8815"/>
                  <a:pt x="9100" y="9061"/>
                </a:cubicBezTo>
                <a:cubicBezTo>
                  <a:pt x="9085" y="9120"/>
                  <a:pt x="9069" y="9179"/>
                  <a:pt x="9054" y="9239"/>
                </a:cubicBezTo>
                <a:cubicBezTo>
                  <a:pt x="9032" y="9297"/>
                  <a:pt x="9011" y="9357"/>
                  <a:pt x="8989" y="9417"/>
                </a:cubicBezTo>
                <a:cubicBezTo>
                  <a:pt x="8983" y="9433"/>
                  <a:pt x="8977" y="9451"/>
                  <a:pt x="8971" y="9468"/>
                </a:cubicBezTo>
                <a:lnTo>
                  <a:pt x="8971" y="9476"/>
                </a:lnTo>
                <a:lnTo>
                  <a:pt x="8971" y="9482"/>
                </a:lnTo>
                <a:cubicBezTo>
                  <a:pt x="8962" y="9490"/>
                  <a:pt x="8971" y="9476"/>
                  <a:pt x="8971" y="9476"/>
                </a:cubicBezTo>
                <a:cubicBezTo>
                  <a:pt x="8968" y="9483"/>
                  <a:pt x="8965" y="9491"/>
                  <a:pt x="8962" y="9498"/>
                </a:cubicBezTo>
                <a:cubicBezTo>
                  <a:pt x="8947" y="9532"/>
                  <a:pt x="8931" y="9561"/>
                  <a:pt x="8915" y="9593"/>
                </a:cubicBezTo>
                <a:cubicBezTo>
                  <a:pt x="8982" y="9677"/>
                  <a:pt x="9267" y="9976"/>
                  <a:pt x="9367" y="10000"/>
                </a:cubicBezTo>
                <a:cubicBezTo>
                  <a:pt x="9467" y="10024"/>
                  <a:pt x="9488" y="9783"/>
                  <a:pt x="9516" y="9735"/>
                </a:cubicBezTo>
                <a:cubicBezTo>
                  <a:pt x="9544" y="9687"/>
                  <a:pt x="9528" y="9721"/>
                  <a:pt x="9534" y="9711"/>
                </a:cubicBezTo>
                <a:cubicBezTo>
                  <a:pt x="9540" y="9701"/>
                  <a:pt x="9546" y="9689"/>
                  <a:pt x="9552" y="9678"/>
                </a:cubicBezTo>
                <a:cubicBezTo>
                  <a:pt x="9558" y="9661"/>
                  <a:pt x="9565" y="9643"/>
                  <a:pt x="9571" y="9625"/>
                </a:cubicBezTo>
                <a:cubicBezTo>
                  <a:pt x="9602" y="9561"/>
                  <a:pt x="9633" y="9496"/>
                  <a:pt x="9664" y="9433"/>
                </a:cubicBezTo>
                <a:cubicBezTo>
                  <a:pt x="9688" y="9361"/>
                  <a:pt x="9713" y="9291"/>
                  <a:pt x="9737" y="9220"/>
                </a:cubicBezTo>
                <a:cubicBezTo>
                  <a:pt x="9839" y="8952"/>
                  <a:pt x="9922" y="8664"/>
                  <a:pt x="9959" y="8367"/>
                </a:cubicBezTo>
                <a:cubicBezTo>
                  <a:pt x="10042" y="7767"/>
                  <a:pt x="9996" y="7159"/>
                  <a:pt x="9848" y="6566"/>
                </a:cubicBezTo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8753" tIns="49377" rIns="98753" bIns="4937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7552">
              <a:defRPr/>
            </a:pPr>
            <a:endParaRPr lang="fr-FR" sz="1944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6" name="Arrow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EE0B117-B24C-E975-D6E1-F1C879D74C23}"/>
              </a:ext>
            </a:extLst>
          </p:cNvPr>
          <p:cNvSpPr>
            <a:spLocks noChangeAspect="1"/>
          </p:cNvSpPr>
          <p:nvPr/>
        </p:nvSpPr>
        <p:spPr bwMode="auto">
          <a:xfrm rot="6881830">
            <a:off x="5639515" y="3716269"/>
            <a:ext cx="574093" cy="821900"/>
          </a:xfrm>
          <a:custGeom>
            <a:avLst/>
            <a:gdLst>
              <a:gd name="T0" fmla="*/ 989 w 1087"/>
              <a:gd name="T1" fmla="*/ 578 h 1486"/>
              <a:gd name="T2" fmla="*/ 727 w 1087"/>
              <a:gd name="T3" fmla="*/ 280 h 1486"/>
              <a:gd name="T4" fmla="*/ 545 w 1087"/>
              <a:gd name="T5" fmla="*/ 167 h 1486"/>
              <a:gd name="T6" fmla="*/ 522 w 1087"/>
              <a:gd name="T7" fmla="*/ 156 h 1486"/>
              <a:gd name="T8" fmla="*/ 512 w 1087"/>
              <a:gd name="T9" fmla="*/ 151 h 1486"/>
              <a:gd name="T10" fmla="*/ 390 w 1087"/>
              <a:gd name="T11" fmla="*/ 103 h 1486"/>
              <a:gd name="T12" fmla="*/ 360 w 1087"/>
              <a:gd name="T13" fmla="*/ 0 h 1486"/>
              <a:gd name="T14" fmla="*/ 292 w 1087"/>
              <a:gd name="T15" fmla="*/ 376 h 1486"/>
              <a:gd name="T16" fmla="*/ 339 w 1087"/>
              <a:gd name="T17" fmla="*/ 283 h 1486"/>
              <a:gd name="T18" fmla="*/ 446 w 1087"/>
              <a:gd name="T19" fmla="*/ 314 h 1486"/>
              <a:gd name="T20" fmla="*/ 448 w 1087"/>
              <a:gd name="T21" fmla="*/ 315 h 1486"/>
              <a:gd name="T22" fmla="*/ 448 w 1087"/>
              <a:gd name="T23" fmla="*/ 314 h 1486"/>
              <a:gd name="T24" fmla="*/ 460 w 1087"/>
              <a:gd name="T25" fmla="*/ 319 h 1486"/>
              <a:gd name="T26" fmla="*/ 508 w 1087"/>
              <a:gd name="T27" fmla="*/ 338 h 1486"/>
              <a:gd name="T28" fmla="*/ 771 w 1087"/>
              <a:gd name="T29" fmla="*/ 506 h 1486"/>
              <a:gd name="T30" fmla="*/ 970 w 1087"/>
              <a:gd name="T31" fmla="*/ 803 h 1486"/>
              <a:gd name="T32" fmla="*/ 985 w 1087"/>
              <a:gd name="T33" fmla="*/ 1072 h 1486"/>
              <a:gd name="T34" fmla="*/ 973 w 1087"/>
              <a:gd name="T35" fmla="*/ 1114 h 1486"/>
              <a:gd name="T36" fmla="*/ 971 w 1087"/>
              <a:gd name="T37" fmla="*/ 1121 h 1486"/>
              <a:gd name="T38" fmla="*/ 971 w 1087"/>
              <a:gd name="T39" fmla="*/ 1121 h 1486"/>
              <a:gd name="T40" fmla="*/ 965 w 1087"/>
              <a:gd name="T41" fmla="*/ 1135 h 1486"/>
              <a:gd name="T42" fmla="*/ 938 w 1087"/>
              <a:gd name="T43" fmla="*/ 1194 h 1486"/>
              <a:gd name="T44" fmla="*/ 890 w 1087"/>
              <a:gd name="T45" fmla="*/ 1265 h 1486"/>
              <a:gd name="T46" fmla="*/ 739 w 1087"/>
              <a:gd name="T47" fmla="*/ 1391 h 1486"/>
              <a:gd name="T48" fmla="*/ 564 w 1087"/>
              <a:gd name="T49" fmla="*/ 1462 h 1486"/>
              <a:gd name="T50" fmla="*/ 479 w 1087"/>
              <a:gd name="T51" fmla="*/ 1480 h 1486"/>
              <a:gd name="T52" fmla="*/ 427 w 1087"/>
              <a:gd name="T53" fmla="*/ 1486 h 1486"/>
              <a:gd name="T54" fmla="*/ 480 w 1087"/>
              <a:gd name="T55" fmla="*/ 1485 h 1486"/>
              <a:gd name="T56" fmla="*/ 567 w 1087"/>
              <a:gd name="T57" fmla="*/ 1475 h 1486"/>
              <a:gd name="T58" fmla="*/ 754 w 1087"/>
              <a:gd name="T59" fmla="*/ 1418 h 1486"/>
              <a:gd name="T60" fmla="*/ 1014 w 1087"/>
              <a:gd name="T61" fmla="*/ 1183 h 1486"/>
              <a:gd name="T62" fmla="*/ 1030 w 1087"/>
              <a:gd name="T63" fmla="*/ 1152 h 1486"/>
              <a:gd name="T64" fmla="*/ 1034 w 1087"/>
              <a:gd name="T65" fmla="*/ 1145 h 1486"/>
              <a:gd name="T66" fmla="*/ 1046 w 1087"/>
              <a:gd name="T67" fmla="*/ 1116 h 1486"/>
              <a:gd name="T68" fmla="*/ 1078 w 1087"/>
              <a:gd name="T69" fmla="*/ 990 h 1486"/>
              <a:gd name="connsiteX0" fmla="*/ 9807 w 9958"/>
              <a:gd name="connsiteY0" fmla="*/ 5229 h 10000"/>
              <a:gd name="connsiteX1" fmla="*/ 9098 w 9958"/>
              <a:gd name="connsiteY1" fmla="*/ 3890 h 10000"/>
              <a:gd name="connsiteX2" fmla="*/ 7994 w 9958"/>
              <a:gd name="connsiteY2" fmla="*/ 2766 h 10000"/>
              <a:gd name="connsiteX3" fmla="*/ 6688 w 9958"/>
              <a:gd name="connsiteY3" fmla="*/ 1884 h 10000"/>
              <a:gd name="connsiteX4" fmla="*/ 5336 w 9958"/>
              <a:gd name="connsiteY4" fmla="*/ 1252 h 10000"/>
              <a:gd name="connsiteX5" fmla="*/ 5014 w 9958"/>
              <a:gd name="connsiteY5" fmla="*/ 1124 h 10000"/>
              <a:gd name="connsiteX6" fmla="*/ 4867 w 9958"/>
              <a:gd name="connsiteY6" fmla="*/ 1070 h 10000"/>
              <a:gd name="connsiteX7" fmla="*/ 4802 w 9958"/>
              <a:gd name="connsiteY7" fmla="*/ 1050 h 10000"/>
              <a:gd name="connsiteX8" fmla="*/ 4765 w 9958"/>
              <a:gd name="connsiteY8" fmla="*/ 1036 h 10000"/>
              <a:gd name="connsiteX9" fmla="*/ 4710 w 9958"/>
              <a:gd name="connsiteY9" fmla="*/ 1016 h 10000"/>
              <a:gd name="connsiteX10" fmla="*/ 4121 w 9958"/>
              <a:gd name="connsiteY10" fmla="*/ 834 h 10000"/>
              <a:gd name="connsiteX11" fmla="*/ 3588 w 9958"/>
              <a:gd name="connsiteY11" fmla="*/ 693 h 10000"/>
              <a:gd name="connsiteX12" fmla="*/ 3165 w 9958"/>
              <a:gd name="connsiteY12" fmla="*/ 606 h 10000"/>
              <a:gd name="connsiteX13" fmla="*/ 3312 w 9958"/>
              <a:gd name="connsiteY13" fmla="*/ 0 h 10000"/>
              <a:gd name="connsiteX14" fmla="*/ 0 w 9958"/>
              <a:gd name="connsiteY14" fmla="*/ 875 h 10000"/>
              <a:gd name="connsiteX15" fmla="*/ 2686 w 9958"/>
              <a:gd name="connsiteY15" fmla="*/ 2530 h 10000"/>
              <a:gd name="connsiteX16" fmla="*/ 2852 w 9958"/>
              <a:gd name="connsiteY16" fmla="*/ 1864 h 10000"/>
              <a:gd name="connsiteX17" fmla="*/ 3119 w 9958"/>
              <a:gd name="connsiteY17" fmla="*/ 1904 h 10000"/>
              <a:gd name="connsiteX18" fmla="*/ 3579 w 9958"/>
              <a:gd name="connsiteY18" fmla="*/ 1992 h 10000"/>
              <a:gd name="connsiteX19" fmla="*/ 4103 w 9958"/>
              <a:gd name="connsiteY19" fmla="*/ 2113 h 10000"/>
              <a:gd name="connsiteX20" fmla="*/ 4112 w 9958"/>
              <a:gd name="connsiteY20" fmla="*/ 2113 h 10000"/>
              <a:gd name="connsiteX21" fmla="*/ 4121 w 9958"/>
              <a:gd name="connsiteY21" fmla="*/ 2120 h 10000"/>
              <a:gd name="connsiteX22" fmla="*/ 4112 w 9958"/>
              <a:gd name="connsiteY22" fmla="*/ 2113 h 10000"/>
              <a:gd name="connsiteX23" fmla="*/ 4121 w 9958"/>
              <a:gd name="connsiteY23" fmla="*/ 2113 h 10000"/>
              <a:gd name="connsiteX24" fmla="*/ 4158 w 9958"/>
              <a:gd name="connsiteY24" fmla="*/ 2127 h 10000"/>
              <a:gd name="connsiteX25" fmla="*/ 4232 w 9958"/>
              <a:gd name="connsiteY25" fmla="*/ 2147 h 10000"/>
              <a:gd name="connsiteX26" fmla="*/ 4388 w 9958"/>
              <a:gd name="connsiteY26" fmla="*/ 2187 h 10000"/>
              <a:gd name="connsiteX27" fmla="*/ 4673 w 9958"/>
              <a:gd name="connsiteY27" fmla="*/ 2275 h 10000"/>
              <a:gd name="connsiteX28" fmla="*/ 5879 w 9958"/>
              <a:gd name="connsiteY28" fmla="*/ 2732 h 10000"/>
              <a:gd name="connsiteX29" fmla="*/ 7093 w 9958"/>
              <a:gd name="connsiteY29" fmla="*/ 3405 h 10000"/>
              <a:gd name="connsiteX30" fmla="*/ 8169 w 9958"/>
              <a:gd name="connsiteY30" fmla="*/ 4307 h 10000"/>
              <a:gd name="connsiteX31" fmla="*/ 8924 w 9958"/>
              <a:gd name="connsiteY31" fmla="*/ 5404 h 10000"/>
              <a:gd name="connsiteX32" fmla="*/ 9172 w 9958"/>
              <a:gd name="connsiteY32" fmla="*/ 6615 h 10000"/>
              <a:gd name="connsiteX33" fmla="*/ 9062 w 9958"/>
              <a:gd name="connsiteY33" fmla="*/ 7214 h 10000"/>
              <a:gd name="connsiteX34" fmla="*/ 9016 w 9958"/>
              <a:gd name="connsiteY34" fmla="*/ 7355 h 10000"/>
              <a:gd name="connsiteX35" fmla="*/ 8951 w 9958"/>
              <a:gd name="connsiteY35" fmla="*/ 7497 h 10000"/>
              <a:gd name="connsiteX36" fmla="*/ 8933 w 9958"/>
              <a:gd name="connsiteY36" fmla="*/ 7537 h 10000"/>
              <a:gd name="connsiteX37" fmla="*/ 8933 w 9958"/>
              <a:gd name="connsiteY37" fmla="*/ 7544 h 10000"/>
              <a:gd name="connsiteX38" fmla="*/ 8933 w 9958"/>
              <a:gd name="connsiteY38" fmla="*/ 7550 h 10000"/>
              <a:gd name="connsiteX39" fmla="*/ 8933 w 9958"/>
              <a:gd name="connsiteY39" fmla="*/ 7544 h 10000"/>
              <a:gd name="connsiteX40" fmla="*/ 8924 w 9958"/>
              <a:gd name="connsiteY40" fmla="*/ 7564 h 10000"/>
              <a:gd name="connsiteX41" fmla="*/ 8878 w 9958"/>
              <a:gd name="connsiteY41" fmla="*/ 7638 h 10000"/>
              <a:gd name="connsiteX42" fmla="*/ 8804 w 9958"/>
              <a:gd name="connsiteY42" fmla="*/ 7779 h 10000"/>
              <a:gd name="connsiteX43" fmla="*/ 8629 w 9958"/>
              <a:gd name="connsiteY43" fmla="*/ 8035 h 10000"/>
              <a:gd name="connsiteX44" fmla="*/ 8418 w 9958"/>
              <a:gd name="connsiteY44" fmla="*/ 8284 h 10000"/>
              <a:gd name="connsiteX45" fmla="*/ 8188 w 9958"/>
              <a:gd name="connsiteY45" fmla="*/ 8513 h 10000"/>
              <a:gd name="connsiteX46" fmla="*/ 7930 w 9958"/>
              <a:gd name="connsiteY46" fmla="*/ 8715 h 10000"/>
              <a:gd name="connsiteX47" fmla="*/ 6799 w 9958"/>
              <a:gd name="connsiteY47" fmla="*/ 9361 h 10000"/>
              <a:gd name="connsiteX48" fmla="*/ 5685 w 9958"/>
              <a:gd name="connsiteY48" fmla="*/ 9731 h 10000"/>
              <a:gd name="connsiteX49" fmla="*/ 5189 w 9958"/>
              <a:gd name="connsiteY49" fmla="*/ 9838 h 10000"/>
              <a:gd name="connsiteX50" fmla="*/ 4756 w 9958"/>
              <a:gd name="connsiteY50" fmla="*/ 9913 h 10000"/>
              <a:gd name="connsiteX51" fmla="*/ 4407 w 9958"/>
              <a:gd name="connsiteY51" fmla="*/ 9960 h 10000"/>
              <a:gd name="connsiteX52" fmla="*/ 4149 w 9958"/>
              <a:gd name="connsiteY52" fmla="*/ 9980 h 10000"/>
              <a:gd name="connsiteX53" fmla="*/ 3928 w 9958"/>
              <a:gd name="connsiteY53" fmla="*/ 10000 h 10000"/>
              <a:gd name="connsiteX54" fmla="*/ 4149 w 9958"/>
              <a:gd name="connsiteY54" fmla="*/ 10000 h 10000"/>
              <a:gd name="connsiteX55" fmla="*/ 4416 w 9958"/>
              <a:gd name="connsiteY55" fmla="*/ 9993 h 10000"/>
              <a:gd name="connsiteX56" fmla="*/ 5216 w 9958"/>
              <a:gd name="connsiteY56" fmla="*/ 9926 h 10000"/>
              <a:gd name="connsiteX57" fmla="*/ 5731 w 9958"/>
              <a:gd name="connsiteY57" fmla="*/ 9845 h 10000"/>
              <a:gd name="connsiteX58" fmla="*/ 6937 w 9958"/>
              <a:gd name="connsiteY58" fmla="*/ 9542 h 10000"/>
              <a:gd name="connsiteX59" fmla="*/ 8224 w 9958"/>
              <a:gd name="connsiteY59" fmla="*/ 8943 h 10000"/>
              <a:gd name="connsiteX60" fmla="*/ 9328 w 9958"/>
              <a:gd name="connsiteY60" fmla="*/ 7961 h 10000"/>
              <a:gd name="connsiteX61" fmla="*/ 9430 w 9958"/>
              <a:gd name="connsiteY61" fmla="*/ 7820 h 10000"/>
              <a:gd name="connsiteX62" fmla="*/ 9476 w 9958"/>
              <a:gd name="connsiteY62" fmla="*/ 7752 h 10000"/>
              <a:gd name="connsiteX63" fmla="*/ 9494 w 9958"/>
              <a:gd name="connsiteY63" fmla="*/ 7732 h 10000"/>
              <a:gd name="connsiteX64" fmla="*/ 9512 w 9958"/>
              <a:gd name="connsiteY64" fmla="*/ 7705 h 10000"/>
              <a:gd name="connsiteX65" fmla="*/ 9531 w 9958"/>
              <a:gd name="connsiteY65" fmla="*/ 7665 h 10000"/>
              <a:gd name="connsiteX66" fmla="*/ 9623 w 9958"/>
              <a:gd name="connsiteY66" fmla="*/ 7510 h 10000"/>
              <a:gd name="connsiteX67" fmla="*/ 9696 w 9958"/>
              <a:gd name="connsiteY67" fmla="*/ 7342 h 10000"/>
              <a:gd name="connsiteX68" fmla="*/ 9917 w 9958"/>
              <a:gd name="connsiteY68" fmla="*/ 6662 h 10000"/>
              <a:gd name="connsiteX69" fmla="*/ 9807 w 9958"/>
              <a:gd name="connsiteY69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4435 w 10000"/>
              <a:gd name="connsiteY55" fmla="*/ 9993 h 10000"/>
              <a:gd name="connsiteX56" fmla="*/ 5755 w 10000"/>
              <a:gd name="connsiteY56" fmla="*/ 9845 h 10000"/>
              <a:gd name="connsiteX57" fmla="*/ 6966 w 10000"/>
              <a:gd name="connsiteY57" fmla="*/ 9542 h 10000"/>
              <a:gd name="connsiteX58" fmla="*/ 8259 w 10000"/>
              <a:gd name="connsiteY58" fmla="*/ 8943 h 10000"/>
              <a:gd name="connsiteX59" fmla="*/ 9367 w 10000"/>
              <a:gd name="connsiteY59" fmla="*/ 7961 h 10000"/>
              <a:gd name="connsiteX60" fmla="*/ 9470 w 10000"/>
              <a:gd name="connsiteY60" fmla="*/ 7820 h 10000"/>
              <a:gd name="connsiteX61" fmla="*/ 9516 w 10000"/>
              <a:gd name="connsiteY61" fmla="*/ 7752 h 10000"/>
              <a:gd name="connsiteX62" fmla="*/ 9534 w 10000"/>
              <a:gd name="connsiteY62" fmla="*/ 7732 h 10000"/>
              <a:gd name="connsiteX63" fmla="*/ 9552 w 10000"/>
              <a:gd name="connsiteY63" fmla="*/ 7705 h 10000"/>
              <a:gd name="connsiteX64" fmla="*/ 9571 w 10000"/>
              <a:gd name="connsiteY64" fmla="*/ 7665 h 10000"/>
              <a:gd name="connsiteX65" fmla="*/ 9664 w 10000"/>
              <a:gd name="connsiteY65" fmla="*/ 7510 h 10000"/>
              <a:gd name="connsiteX66" fmla="*/ 9737 w 10000"/>
              <a:gd name="connsiteY66" fmla="*/ 7342 h 10000"/>
              <a:gd name="connsiteX67" fmla="*/ 9959 w 10000"/>
              <a:gd name="connsiteY67" fmla="*/ 6662 h 10000"/>
              <a:gd name="connsiteX68" fmla="*/ 9848 w 10000"/>
              <a:gd name="connsiteY68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5755 w 10000"/>
              <a:gd name="connsiteY55" fmla="*/ 9845 h 10000"/>
              <a:gd name="connsiteX56" fmla="*/ 6966 w 10000"/>
              <a:gd name="connsiteY56" fmla="*/ 9542 h 10000"/>
              <a:gd name="connsiteX57" fmla="*/ 8259 w 10000"/>
              <a:gd name="connsiteY57" fmla="*/ 8943 h 10000"/>
              <a:gd name="connsiteX58" fmla="*/ 9367 w 10000"/>
              <a:gd name="connsiteY58" fmla="*/ 7961 h 10000"/>
              <a:gd name="connsiteX59" fmla="*/ 9470 w 10000"/>
              <a:gd name="connsiteY59" fmla="*/ 7820 h 10000"/>
              <a:gd name="connsiteX60" fmla="*/ 9516 w 10000"/>
              <a:gd name="connsiteY60" fmla="*/ 7752 h 10000"/>
              <a:gd name="connsiteX61" fmla="*/ 9534 w 10000"/>
              <a:gd name="connsiteY61" fmla="*/ 7732 h 10000"/>
              <a:gd name="connsiteX62" fmla="*/ 9552 w 10000"/>
              <a:gd name="connsiteY62" fmla="*/ 7705 h 10000"/>
              <a:gd name="connsiteX63" fmla="*/ 9571 w 10000"/>
              <a:gd name="connsiteY63" fmla="*/ 7665 h 10000"/>
              <a:gd name="connsiteX64" fmla="*/ 9664 w 10000"/>
              <a:gd name="connsiteY64" fmla="*/ 7510 h 10000"/>
              <a:gd name="connsiteX65" fmla="*/ 9737 w 10000"/>
              <a:gd name="connsiteY65" fmla="*/ 7342 h 10000"/>
              <a:gd name="connsiteX66" fmla="*/ 9959 w 10000"/>
              <a:gd name="connsiteY66" fmla="*/ 6662 h 10000"/>
              <a:gd name="connsiteX67" fmla="*/ 9848 w 10000"/>
              <a:gd name="connsiteY67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6966 w 10000"/>
              <a:gd name="connsiteY55" fmla="*/ 9542 h 10000"/>
              <a:gd name="connsiteX56" fmla="*/ 8259 w 10000"/>
              <a:gd name="connsiteY56" fmla="*/ 8943 h 10000"/>
              <a:gd name="connsiteX57" fmla="*/ 9367 w 10000"/>
              <a:gd name="connsiteY57" fmla="*/ 7961 h 10000"/>
              <a:gd name="connsiteX58" fmla="*/ 9470 w 10000"/>
              <a:gd name="connsiteY58" fmla="*/ 7820 h 10000"/>
              <a:gd name="connsiteX59" fmla="*/ 9516 w 10000"/>
              <a:gd name="connsiteY59" fmla="*/ 7752 h 10000"/>
              <a:gd name="connsiteX60" fmla="*/ 9534 w 10000"/>
              <a:gd name="connsiteY60" fmla="*/ 7732 h 10000"/>
              <a:gd name="connsiteX61" fmla="*/ 9552 w 10000"/>
              <a:gd name="connsiteY61" fmla="*/ 7705 h 10000"/>
              <a:gd name="connsiteX62" fmla="*/ 9571 w 10000"/>
              <a:gd name="connsiteY62" fmla="*/ 7665 h 10000"/>
              <a:gd name="connsiteX63" fmla="*/ 9664 w 10000"/>
              <a:gd name="connsiteY63" fmla="*/ 7510 h 10000"/>
              <a:gd name="connsiteX64" fmla="*/ 9737 w 10000"/>
              <a:gd name="connsiteY64" fmla="*/ 7342 h 10000"/>
              <a:gd name="connsiteX65" fmla="*/ 9959 w 10000"/>
              <a:gd name="connsiteY65" fmla="*/ 6662 h 10000"/>
              <a:gd name="connsiteX66" fmla="*/ 9848 w 10000"/>
              <a:gd name="connsiteY66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6966 w 10000"/>
              <a:gd name="connsiteY54" fmla="*/ 9542 h 10000"/>
              <a:gd name="connsiteX55" fmla="*/ 8259 w 10000"/>
              <a:gd name="connsiteY55" fmla="*/ 8943 h 10000"/>
              <a:gd name="connsiteX56" fmla="*/ 9367 w 10000"/>
              <a:gd name="connsiteY56" fmla="*/ 7961 h 10000"/>
              <a:gd name="connsiteX57" fmla="*/ 9470 w 10000"/>
              <a:gd name="connsiteY57" fmla="*/ 7820 h 10000"/>
              <a:gd name="connsiteX58" fmla="*/ 9516 w 10000"/>
              <a:gd name="connsiteY58" fmla="*/ 7752 h 10000"/>
              <a:gd name="connsiteX59" fmla="*/ 9534 w 10000"/>
              <a:gd name="connsiteY59" fmla="*/ 7732 h 10000"/>
              <a:gd name="connsiteX60" fmla="*/ 9552 w 10000"/>
              <a:gd name="connsiteY60" fmla="*/ 7705 h 10000"/>
              <a:gd name="connsiteX61" fmla="*/ 9571 w 10000"/>
              <a:gd name="connsiteY61" fmla="*/ 7665 h 10000"/>
              <a:gd name="connsiteX62" fmla="*/ 9664 w 10000"/>
              <a:gd name="connsiteY62" fmla="*/ 7510 h 10000"/>
              <a:gd name="connsiteX63" fmla="*/ 9737 w 10000"/>
              <a:gd name="connsiteY63" fmla="*/ 7342 h 10000"/>
              <a:gd name="connsiteX64" fmla="*/ 9959 w 10000"/>
              <a:gd name="connsiteY64" fmla="*/ 6662 h 10000"/>
              <a:gd name="connsiteX65" fmla="*/ 9848 w 10000"/>
              <a:gd name="connsiteY65" fmla="*/ 5229 h 10000"/>
              <a:gd name="connsiteX0" fmla="*/ 9848 w 10000"/>
              <a:gd name="connsiteY0" fmla="*/ 5229 h 9980"/>
              <a:gd name="connsiteX1" fmla="*/ 9136 w 10000"/>
              <a:gd name="connsiteY1" fmla="*/ 3890 h 9980"/>
              <a:gd name="connsiteX2" fmla="*/ 8028 w 10000"/>
              <a:gd name="connsiteY2" fmla="*/ 2766 h 9980"/>
              <a:gd name="connsiteX3" fmla="*/ 6716 w 10000"/>
              <a:gd name="connsiteY3" fmla="*/ 1884 h 9980"/>
              <a:gd name="connsiteX4" fmla="*/ 5359 w 10000"/>
              <a:gd name="connsiteY4" fmla="*/ 1252 h 9980"/>
              <a:gd name="connsiteX5" fmla="*/ 5035 w 10000"/>
              <a:gd name="connsiteY5" fmla="*/ 1124 h 9980"/>
              <a:gd name="connsiteX6" fmla="*/ 4888 w 10000"/>
              <a:gd name="connsiteY6" fmla="*/ 1070 h 9980"/>
              <a:gd name="connsiteX7" fmla="*/ 4822 w 10000"/>
              <a:gd name="connsiteY7" fmla="*/ 1050 h 9980"/>
              <a:gd name="connsiteX8" fmla="*/ 4785 w 10000"/>
              <a:gd name="connsiteY8" fmla="*/ 1036 h 9980"/>
              <a:gd name="connsiteX9" fmla="*/ 4730 w 10000"/>
              <a:gd name="connsiteY9" fmla="*/ 1016 h 9980"/>
              <a:gd name="connsiteX10" fmla="*/ 4138 w 10000"/>
              <a:gd name="connsiteY10" fmla="*/ 834 h 9980"/>
              <a:gd name="connsiteX11" fmla="*/ 3603 w 10000"/>
              <a:gd name="connsiteY11" fmla="*/ 693 h 9980"/>
              <a:gd name="connsiteX12" fmla="*/ 3178 w 10000"/>
              <a:gd name="connsiteY12" fmla="*/ 606 h 9980"/>
              <a:gd name="connsiteX13" fmla="*/ 3326 w 10000"/>
              <a:gd name="connsiteY13" fmla="*/ 0 h 9980"/>
              <a:gd name="connsiteX14" fmla="*/ 0 w 10000"/>
              <a:gd name="connsiteY14" fmla="*/ 875 h 9980"/>
              <a:gd name="connsiteX15" fmla="*/ 2697 w 10000"/>
              <a:gd name="connsiteY15" fmla="*/ 2530 h 9980"/>
              <a:gd name="connsiteX16" fmla="*/ 2864 w 10000"/>
              <a:gd name="connsiteY16" fmla="*/ 1864 h 9980"/>
              <a:gd name="connsiteX17" fmla="*/ 3132 w 10000"/>
              <a:gd name="connsiteY17" fmla="*/ 1904 h 9980"/>
              <a:gd name="connsiteX18" fmla="*/ 3594 w 10000"/>
              <a:gd name="connsiteY18" fmla="*/ 1992 h 9980"/>
              <a:gd name="connsiteX19" fmla="*/ 4120 w 10000"/>
              <a:gd name="connsiteY19" fmla="*/ 2113 h 9980"/>
              <a:gd name="connsiteX20" fmla="*/ 4129 w 10000"/>
              <a:gd name="connsiteY20" fmla="*/ 2113 h 9980"/>
              <a:gd name="connsiteX21" fmla="*/ 4138 w 10000"/>
              <a:gd name="connsiteY21" fmla="*/ 2120 h 9980"/>
              <a:gd name="connsiteX22" fmla="*/ 4129 w 10000"/>
              <a:gd name="connsiteY22" fmla="*/ 2113 h 9980"/>
              <a:gd name="connsiteX23" fmla="*/ 4138 w 10000"/>
              <a:gd name="connsiteY23" fmla="*/ 2113 h 9980"/>
              <a:gd name="connsiteX24" fmla="*/ 4176 w 10000"/>
              <a:gd name="connsiteY24" fmla="*/ 2127 h 9980"/>
              <a:gd name="connsiteX25" fmla="*/ 4250 w 10000"/>
              <a:gd name="connsiteY25" fmla="*/ 2147 h 9980"/>
              <a:gd name="connsiteX26" fmla="*/ 4407 w 10000"/>
              <a:gd name="connsiteY26" fmla="*/ 2187 h 9980"/>
              <a:gd name="connsiteX27" fmla="*/ 4693 w 10000"/>
              <a:gd name="connsiteY27" fmla="*/ 2275 h 9980"/>
              <a:gd name="connsiteX28" fmla="*/ 5904 w 10000"/>
              <a:gd name="connsiteY28" fmla="*/ 2732 h 9980"/>
              <a:gd name="connsiteX29" fmla="*/ 7123 w 10000"/>
              <a:gd name="connsiteY29" fmla="*/ 3405 h 9980"/>
              <a:gd name="connsiteX30" fmla="*/ 8203 w 10000"/>
              <a:gd name="connsiteY30" fmla="*/ 4307 h 9980"/>
              <a:gd name="connsiteX31" fmla="*/ 8962 w 10000"/>
              <a:gd name="connsiteY31" fmla="*/ 5404 h 9980"/>
              <a:gd name="connsiteX32" fmla="*/ 9211 w 10000"/>
              <a:gd name="connsiteY32" fmla="*/ 6615 h 9980"/>
              <a:gd name="connsiteX33" fmla="*/ 9100 w 10000"/>
              <a:gd name="connsiteY33" fmla="*/ 7214 h 9980"/>
              <a:gd name="connsiteX34" fmla="*/ 9054 w 10000"/>
              <a:gd name="connsiteY34" fmla="*/ 7355 h 9980"/>
              <a:gd name="connsiteX35" fmla="*/ 8989 w 10000"/>
              <a:gd name="connsiteY35" fmla="*/ 7497 h 9980"/>
              <a:gd name="connsiteX36" fmla="*/ 8971 w 10000"/>
              <a:gd name="connsiteY36" fmla="*/ 7537 h 9980"/>
              <a:gd name="connsiteX37" fmla="*/ 8971 w 10000"/>
              <a:gd name="connsiteY37" fmla="*/ 7544 h 9980"/>
              <a:gd name="connsiteX38" fmla="*/ 8971 w 10000"/>
              <a:gd name="connsiteY38" fmla="*/ 7550 h 9980"/>
              <a:gd name="connsiteX39" fmla="*/ 8971 w 10000"/>
              <a:gd name="connsiteY39" fmla="*/ 7544 h 9980"/>
              <a:gd name="connsiteX40" fmla="*/ 8962 w 10000"/>
              <a:gd name="connsiteY40" fmla="*/ 7564 h 9980"/>
              <a:gd name="connsiteX41" fmla="*/ 8915 w 10000"/>
              <a:gd name="connsiteY41" fmla="*/ 7638 h 9980"/>
              <a:gd name="connsiteX42" fmla="*/ 8841 w 10000"/>
              <a:gd name="connsiteY42" fmla="*/ 7779 h 9980"/>
              <a:gd name="connsiteX43" fmla="*/ 8665 w 10000"/>
              <a:gd name="connsiteY43" fmla="*/ 8035 h 9980"/>
              <a:gd name="connsiteX44" fmla="*/ 8454 w 10000"/>
              <a:gd name="connsiteY44" fmla="*/ 8284 h 9980"/>
              <a:gd name="connsiteX45" fmla="*/ 8223 w 10000"/>
              <a:gd name="connsiteY45" fmla="*/ 8513 h 9980"/>
              <a:gd name="connsiteX46" fmla="*/ 7963 w 10000"/>
              <a:gd name="connsiteY46" fmla="*/ 8715 h 9980"/>
              <a:gd name="connsiteX47" fmla="*/ 6828 w 10000"/>
              <a:gd name="connsiteY47" fmla="*/ 9361 h 9980"/>
              <a:gd name="connsiteX48" fmla="*/ 5709 w 10000"/>
              <a:gd name="connsiteY48" fmla="*/ 9731 h 9980"/>
              <a:gd name="connsiteX49" fmla="*/ 5211 w 10000"/>
              <a:gd name="connsiteY49" fmla="*/ 9838 h 9980"/>
              <a:gd name="connsiteX50" fmla="*/ 4776 w 10000"/>
              <a:gd name="connsiteY50" fmla="*/ 9913 h 9980"/>
              <a:gd name="connsiteX51" fmla="*/ 4426 w 10000"/>
              <a:gd name="connsiteY51" fmla="*/ 9960 h 9980"/>
              <a:gd name="connsiteX52" fmla="*/ 4166 w 10000"/>
              <a:gd name="connsiteY52" fmla="*/ 9980 h 9980"/>
              <a:gd name="connsiteX53" fmla="*/ 6966 w 10000"/>
              <a:gd name="connsiteY53" fmla="*/ 9542 h 9980"/>
              <a:gd name="connsiteX54" fmla="*/ 8259 w 10000"/>
              <a:gd name="connsiteY54" fmla="*/ 8943 h 9980"/>
              <a:gd name="connsiteX55" fmla="*/ 9367 w 10000"/>
              <a:gd name="connsiteY55" fmla="*/ 7961 h 9980"/>
              <a:gd name="connsiteX56" fmla="*/ 9470 w 10000"/>
              <a:gd name="connsiteY56" fmla="*/ 7820 h 9980"/>
              <a:gd name="connsiteX57" fmla="*/ 9516 w 10000"/>
              <a:gd name="connsiteY57" fmla="*/ 7752 h 9980"/>
              <a:gd name="connsiteX58" fmla="*/ 9534 w 10000"/>
              <a:gd name="connsiteY58" fmla="*/ 7732 h 9980"/>
              <a:gd name="connsiteX59" fmla="*/ 9552 w 10000"/>
              <a:gd name="connsiteY59" fmla="*/ 7705 h 9980"/>
              <a:gd name="connsiteX60" fmla="*/ 9571 w 10000"/>
              <a:gd name="connsiteY60" fmla="*/ 7665 h 9980"/>
              <a:gd name="connsiteX61" fmla="*/ 9664 w 10000"/>
              <a:gd name="connsiteY61" fmla="*/ 7510 h 9980"/>
              <a:gd name="connsiteX62" fmla="*/ 9737 w 10000"/>
              <a:gd name="connsiteY62" fmla="*/ 7342 h 9980"/>
              <a:gd name="connsiteX63" fmla="*/ 9959 w 10000"/>
              <a:gd name="connsiteY63" fmla="*/ 6662 h 9980"/>
              <a:gd name="connsiteX64" fmla="*/ 9848 w 10000"/>
              <a:gd name="connsiteY64" fmla="*/ 5229 h 9980"/>
              <a:gd name="connsiteX0" fmla="*/ 9848 w 10000"/>
              <a:gd name="connsiteY0" fmla="*/ 5239 h 10000"/>
              <a:gd name="connsiteX1" fmla="*/ 9136 w 10000"/>
              <a:gd name="connsiteY1" fmla="*/ 3898 h 10000"/>
              <a:gd name="connsiteX2" fmla="*/ 8028 w 10000"/>
              <a:gd name="connsiteY2" fmla="*/ 2772 h 10000"/>
              <a:gd name="connsiteX3" fmla="*/ 6716 w 10000"/>
              <a:gd name="connsiteY3" fmla="*/ 1888 h 10000"/>
              <a:gd name="connsiteX4" fmla="*/ 5359 w 10000"/>
              <a:gd name="connsiteY4" fmla="*/ 1255 h 10000"/>
              <a:gd name="connsiteX5" fmla="*/ 5035 w 10000"/>
              <a:gd name="connsiteY5" fmla="*/ 1126 h 10000"/>
              <a:gd name="connsiteX6" fmla="*/ 4888 w 10000"/>
              <a:gd name="connsiteY6" fmla="*/ 1072 h 10000"/>
              <a:gd name="connsiteX7" fmla="*/ 4822 w 10000"/>
              <a:gd name="connsiteY7" fmla="*/ 1052 h 10000"/>
              <a:gd name="connsiteX8" fmla="*/ 4785 w 10000"/>
              <a:gd name="connsiteY8" fmla="*/ 1038 h 10000"/>
              <a:gd name="connsiteX9" fmla="*/ 4730 w 10000"/>
              <a:gd name="connsiteY9" fmla="*/ 1018 h 10000"/>
              <a:gd name="connsiteX10" fmla="*/ 4138 w 10000"/>
              <a:gd name="connsiteY10" fmla="*/ 836 h 10000"/>
              <a:gd name="connsiteX11" fmla="*/ 3603 w 10000"/>
              <a:gd name="connsiteY11" fmla="*/ 694 h 10000"/>
              <a:gd name="connsiteX12" fmla="*/ 3178 w 10000"/>
              <a:gd name="connsiteY12" fmla="*/ 607 h 10000"/>
              <a:gd name="connsiteX13" fmla="*/ 3326 w 10000"/>
              <a:gd name="connsiteY13" fmla="*/ 0 h 10000"/>
              <a:gd name="connsiteX14" fmla="*/ 0 w 10000"/>
              <a:gd name="connsiteY14" fmla="*/ 877 h 10000"/>
              <a:gd name="connsiteX15" fmla="*/ 2697 w 10000"/>
              <a:gd name="connsiteY15" fmla="*/ 2535 h 10000"/>
              <a:gd name="connsiteX16" fmla="*/ 2864 w 10000"/>
              <a:gd name="connsiteY16" fmla="*/ 1868 h 10000"/>
              <a:gd name="connsiteX17" fmla="*/ 3132 w 10000"/>
              <a:gd name="connsiteY17" fmla="*/ 1908 h 10000"/>
              <a:gd name="connsiteX18" fmla="*/ 3594 w 10000"/>
              <a:gd name="connsiteY18" fmla="*/ 1996 h 10000"/>
              <a:gd name="connsiteX19" fmla="*/ 4120 w 10000"/>
              <a:gd name="connsiteY19" fmla="*/ 2117 h 10000"/>
              <a:gd name="connsiteX20" fmla="*/ 4129 w 10000"/>
              <a:gd name="connsiteY20" fmla="*/ 2117 h 10000"/>
              <a:gd name="connsiteX21" fmla="*/ 4138 w 10000"/>
              <a:gd name="connsiteY21" fmla="*/ 2124 h 10000"/>
              <a:gd name="connsiteX22" fmla="*/ 4129 w 10000"/>
              <a:gd name="connsiteY22" fmla="*/ 2117 h 10000"/>
              <a:gd name="connsiteX23" fmla="*/ 4138 w 10000"/>
              <a:gd name="connsiteY23" fmla="*/ 2117 h 10000"/>
              <a:gd name="connsiteX24" fmla="*/ 4176 w 10000"/>
              <a:gd name="connsiteY24" fmla="*/ 2131 h 10000"/>
              <a:gd name="connsiteX25" fmla="*/ 4250 w 10000"/>
              <a:gd name="connsiteY25" fmla="*/ 2151 h 10000"/>
              <a:gd name="connsiteX26" fmla="*/ 4407 w 10000"/>
              <a:gd name="connsiteY26" fmla="*/ 2191 h 10000"/>
              <a:gd name="connsiteX27" fmla="*/ 4693 w 10000"/>
              <a:gd name="connsiteY27" fmla="*/ 2280 h 10000"/>
              <a:gd name="connsiteX28" fmla="*/ 5904 w 10000"/>
              <a:gd name="connsiteY28" fmla="*/ 2737 h 10000"/>
              <a:gd name="connsiteX29" fmla="*/ 7123 w 10000"/>
              <a:gd name="connsiteY29" fmla="*/ 3412 h 10000"/>
              <a:gd name="connsiteX30" fmla="*/ 8203 w 10000"/>
              <a:gd name="connsiteY30" fmla="*/ 4316 h 10000"/>
              <a:gd name="connsiteX31" fmla="*/ 8962 w 10000"/>
              <a:gd name="connsiteY31" fmla="*/ 5415 h 10000"/>
              <a:gd name="connsiteX32" fmla="*/ 9211 w 10000"/>
              <a:gd name="connsiteY32" fmla="*/ 6628 h 10000"/>
              <a:gd name="connsiteX33" fmla="*/ 9100 w 10000"/>
              <a:gd name="connsiteY33" fmla="*/ 7228 h 10000"/>
              <a:gd name="connsiteX34" fmla="*/ 9054 w 10000"/>
              <a:gd name="connsiteY34" fmla="*/ 7370 h 10000"/>
              <a:gd name="connsiteX35" fmla="*/ 8989 w 10000"/>
              <a:gd name="connsiteY35" fmla="*/ 7512 h 10000"/>
              <a:gd name="connsiteX36" fmla="*/ 8971 w 10000"/>
              <a:gd name="connsiteY36" fmla="*/ 7552 h 10000"/>
              <a:gd name="connsiteX37" fmla="*/ 8971 w 10000"/>
              <a:gd name="connsiteY37" fmla="*/ 7559 h 10000"/>
              <a:gd name="connsiteX38" fmla="*/ 8971 w 10000"/>
              <a:gd name="connsiteY38" fmla="*/ 7565 h 10000"/>
              <a:gd name="connsiteX39" fmla="*/ 8971 w 10000"/>
              <a:gd name="connsiteY39" fmla="*/ 7559 h 10000"/>
              <a:gd name="connsiteX40" fmla="*/ 8962 w 10000"/>
              <a:gd name="connsiteY40" fmla="*/ 7579 h 10000"/>
              <a:gd name="connsiteX41" fmla="*/ 8915 w 10000"/>
              <a:gd name="connsiteY41" fmla="*/ 7653 h 10000"/>
              <a:gd name="connsiteX42" fmla="*/ 8841 w 10000"/>
              <a:gd name="connsiteY42" fmla="*/ 7795 h 10000"/>
              <a:gd name="connsiteX43" fmla="*/ 8665 w 10000"/>
              <a:gd name="connsiteY43" fmla="*/ 8051 h 10000"/>
              <a:gd name="connsiteX44" fmla="*/ 8454 w 10000"/>
              <a:gd name="connsiteY44" fmla="*/ 8301 h 10000"/>
              <a:gd name="connsiteX45" fmla="*/ 8223 w 10000"/>
              <a:gd name="connsiteY45" fmla="*/ 8530 h 10000"/>
              <a:gd name="connsiteX46" fmla="*/ 7963 w 10000"/>
              <a:gd name="connsiteY46" fmla="*/ 8732 h 10000"/>
              <a:gd name="connsiteX47" fmla="*/ 6828 w 10000"/>
              <a:gd name="connsiteY47" fmla="*/ 9380 h 10000"/>
              <a:gd name="connsiteX48" fmla="*/ 5709 w 10000"/>
              <a:gd name="connsiteY48" fmla="*/ 9751 h 10000"/>
              <a:gd name="connsiteX49" fmla="*/ 5211 w 10000"/>
              <a:gd name="connsiteY49" fmla="*/ 9858 h 10000"/>
              <a:gd name="connsiteX50" fmla="*/ 4776 w 10000"/>
              <a:gd name="connsiteY50" fmla="*/ 9933 h 10000"/>
              <a:gd name="connsiteX51" fmla="*/ 4426 w 10000"/>
              <a:gd name="connsiteY51" fmla="*/ 9980 h 10000"/>
              <a:gd name="connsiteX52" fmla="*/ 6966 w 10000"/>
              <a:gd name="connsiteY52" fmla="*/ 9561 h 10000"/>
              <a:gd name="connsiteX53" fmla="*/ 8259 w 10000"/>
              <a:gd name="connsiteY53" fmla="*/ 8961 h 10000"/>
              <a:gd name="connsiteX54" fmla="*/ 9367 w 10000"/>
              <a:gd name="connsiteY54" fmla="*/ 7977 h 10000"/>
              <a:gd name="connsiteX55" fmla="*/ 9470 w 10000"/>
              <a:gd name="connsiteY55" fmla="*/ 7836 h 10000"/>
              <a:gd name="connsiteX56" fmla="*/ 9516 w 10000"/>
              <a:gd name="connsiteY56" fmla="*/ 7768 h 10000"/>
              <a:gd name="connsiteX57" fmla="*/ 9534 w 10000"/>
              <a:gd name="connsiteY57" fmla="*/ 7747 h 10000"/>
              <a:gd name="connsiteX58" fmla="*/ 9552 w 10000"/>
              <a:gd name="connsiteY58" fmla="*/ 7720 h 10000"/>
              <a:gd name="connsiteX59" fmla="*/ 9571 w 10000"/>
              <a:gd name="connsiteY59" fmla="*/ 7680 h 10000"/>
              <a:gd name="connsiteX60" fmla="*/ 9664 w 10000"/>
              <a:gd name="connsiteY60" fmla="*/ 7525 h 10000"/>
              <a:gd name="connsiteX61" fmla="*/ 9737 w 10000"/>
              <a:gd name="connsiteY61" fmla="*/ 7357 h 10000"/>
              <a:gd name="connsiteX62" fmla="*/ 9959 w 10000"/>
              <a:gd name="connsiteY62" fmla="*/ 6675 h 10000"/>
              <a:gd name="connsiteX63" fmla="*/ 9848 w 10000"/>
              <a:gd name="connsiteY63" fmla="*/ 5239 h 10000"/>
              <a:gd name="connsiteX0" fmla="*/ 9848 w 10000"/>
              <a:gd name="connsiteY0" fmla="*/ 5239 h 9933"/>
              <a:gd name="connsiteX1" fmla="*/ 9136 w 10000"/>
              <a:gd name="connsiteY1" fmla="*/ 3898 h 9933"/>
              <a:gd name="connsiteX2" fmla="*/ 8028 w 10000"/>
              <a:gd name="connsiteY2" fmla="*/ 2772 h 9933"/>
              <a:gd name="connsiteX3" fmla="*/ 6716 w 10000"/>
              <a:gd name="connsiteY3" fmla="*/ 1888 h 9933"/>
              <a:gd name="connsiteX4" fmla="*/ 5359 w 10000"/>
              <a:gd name="connsiteY4" fmla="*/ 1255 h 9933"/>
              <a:gd name="connsiteX5" fmla="*/ 5035 w 10000"/>
              <a:gd name="connsiteY5" fmla="*/ 1126 h 9933"/>
              <a:gd name="connsiteX6" fmla="*/ 4888 w 10000"/>
              <a:gd name="connsiteY6" fmla="*/ 1072 h 9933"/>
              <a:gd name="connsiteX7" fmla="*/ 4822 w 10000"/>
              <a:gd name="connsiteY7" fmla="*/ 1052 h 9933"/>
              <a:gd name="connsiteX8" fmla="*/ 4785 w 10000"/>
              <a:gd name="connsiteY8" fmla="*/ 1038 h 9933"/>
              <a:gd name="connsiteX9" fmla="*/ 4730 w 10000"/>
              <a:gd name="connsiteY9" fmla="*/ 1018 h 9933"/>
              <a:gd name="connsiteX10" fmla="*/ 4138 w 10000"/>
              <a:gd name="connsiteY10" fmla="*/ 836 h 9933"/>
              <a:gd name="connsiteX11" fmla="*/ 3603 w 10000"/>
              <a:gd name="connsiteY11" fmla="*/ 694 h 9933"/>
              <a:gd name="connsiteX12" fmla="*/ 3178 w 10000"/>
              <a:gd name="connsiteY12" fmla="*/ 607 h 9933"/>
              <a:gd name="connsiteX13" fmla="*/ 3326 w 10000"/>
              <a:gd name="connsiteY13" fmla="*/ 0 h 9933"/>
              <a:gd name="connsiteX14" fmla="*/ 0 w 10000"/>
              <a:gd name="connsiteY14" fmla="*/ 877 h 9933"/>
              <a:gd name="connsiteX15" fmla="*/ 2697 w 10000"/>
              <a:gd name="connsiteY15" fmla="*/ 2535 h 9933"/>
              <a:gd name="connsiteX16" fmla="*/ 2864 w 10000"/>
              <a:gd name="connsiteY16" fmla="*/ 1868 h 9933"/>
              <a:gd name="connsiteX17" fmla="*/ 3132 w 10000"/>
              <a:gd name="connsiteY17" fmla="*/ 1908 h 9933"/>
              <a:gd name="connsiteX18" fmla="*/ 3594 w 10000"/>
              <a:gd name="connsiteY18" fmla="*/ 1996 h 9933"/>
              <a:gd name="connsiteX19" fmla="*/ 4120 w 10000"/>
              <a:gd name="connsiteY19" fmla="*/ 2117 h 9933"/>
              <a:gd name="connsiteX20" fmla="*/ 4129 w 10000"/>
              <a:gd name="connsiteY20" fmla="*/ 2117 h 9933"/>
              <a:gd name="connsiteX21" fmla="*/ 4138 w 10000"/>
              <a:gd name="connsiteY21" fmla="*/ 2124 h 9933"/>
              <a:gd name="connsiteX22" fmla="*/ 4129 w 10000"/>
              <a:gd name="connsiteY22" fmla="*/ 2117 h 9933"/>
              <a:gd name="connsiteX23" fmla="*/ 4138 w 10000"/>
              <a:gd name="connsiteY23" fmla="*/ 2117 h 9933"/>
              <a:gd name="connsiteX24" fmla="*/ 4176 w 10000"/>
              <a:gd name="connsiteY24" fmla="*/ 2131 h 9933"/>
              <a:gd name="connsiteX25" fmla="*/ 4250 w 10000"/>
              <a:gd name="connsiteY25" fmla="*/ 2151 h 9933"/>
              <a:gd name="connsiteX26" fmla="*/ 4407 w 10000"/>
              <a:gd name="connsiteY26" fmla="*/ 2191 h 9933"/>
              <a:gd name="connsiteX27" fmla="*/ 4693 w 10000"/>
              <a:gd name="connsiteY27" fmla="*/ 2280 h 9933"/>
              <a:gd name="connsiteX28" fmla="*/ 5904 w 10000"/>
              <a:gd name="connsiteY28" fmla="*/ 2737 h 9933"/>
              <a:gd name="connsiteX29" fmla="*/ 7123 w 10000"/>
              <a:gd name="connsiteY29" fmla="*/ 3412 h 9933"/>
              <a:gd name="connsiteX30" fmla="*/ 8203 w 10000"/>
              <a:gd name="connsiteY30" fmla="*/ 4316 h 9933"/>
              <a:gd name="connsiteX31" fmla="*/ 8962 w 10000"/>
              <a:gd name="connsiteY31" fmla="*/ 5415 h 9933"/>
              <a:gd name="connsiteX32" fmla="*/ 9211 w 10000"/>
              <a:gd name="connsiteY32" fmla="*/ 6628 h 9933"/>
              <a:gd name="connsiteX33" fmla="*/ 9100 w 10000"/>
              <a:gd name="connsiteY33" fmla="*/ 7228 h 9933"/>
              <a:gd name="connsiteX34" fmla="*/ 9054 w 10000"/>
              <a:gd name="connsiteY34" fmla="*/ 7370 h 9933"/>
              <a:gd name="connsiteX35" fmla="*/ 8989 w 10000"/>
              <a:gd name="connsiteY35" fmla="*/ 7512 h 9933"/>
              <a:gd name="connsiteX36" fmla="*/ 8971 w 10000"/>
              <a:gd name="connsiteY36" fmla="*/ 7552 h 9933"/>
              <a:gd name="connsiteX37" fmla="*/ 8971 w 10000"/>
              <a:gd name="connsiteY37" fmla="*/ 7559 h 9933"/>
              <a:gd name="connsiteX38" fmla="*/ 8971 w 10000"/>
              <a:gd name="connsiteY38" fmla="*/ 7565 h 9933"/>
              <a:gd name="connsiteX39" fmla="*/ 8971 w 10000"/>
              <a:gd name="connsiteY39" fmla="*/ 7559 h 9933"/>
              <a:gd name="connsiteX40" fmla="*/ 8962 w 10000"/>
              <a:gd name="connsiteY40" fmla="*/ 7579 h 9933"/>
              <a:gd name="connsiteX41" fmla="*/ 8915 w 10000"/>
              <a:gd name="connsiteY41" fmla="*/ 7653 h 9933"/>
              <a:gd name="connsiteX42" fmla="*/ 8841 w 10000"/>
              <a:gd name="connsiteY42" fmla="*/ 7795 h 9933"/>
              <a:gd name="connsiteX43" fmla="*/ 8665 w 10000"/>
              <a:gd name="connsiteY43" fmla="*/ 8051 h 9933"/>
              <a:gd name="connsiteX44" fmla="*/ 8454 w 10000"/>
              <a:gd name="connsiteY44" fmla="*/ 8301 h 9933"/>
              <a:gd name="connsiteX45" fmla="*/ 8223 w 10000"/>
              <a:gd name="connsiteY45" fmla="*/ 8530 h 9933"/>
              <a:gd name="connsiteX46" fmla="*/ 7963 w 10000"/>
              <a:gd name="connsiteY46" fmla="*/ 8732 h 9933"/>
              <a:gd name="connsiteX47" fmla="*/ 6828 w 10000"/>
              <a:gd name="connsiteY47" fmla="*/ 9380 h 9933"/>
              <a:gd name="connsiteX48" fmla="*/ 5709 w 10000"/>
              <a:gd name="connsiteY48" fmla="*/ 9751 h 9933"/>
              <a:gd name="connsiteX49" fmla="*/ 5211 w 10000"/>
              <a:gd name="connsiteY49" fmla="*/ 9858 h 9933"/>
              <a:gd name="connsiteX50" fmla="*/ 4776 w 10000"/>
              <a:gd name="connsiteY50" fmla="*/ 9933 h 9933"/>
              <a:gd name="connsiteX51" fmla="*/ 6966 w 10000"/>
              <a:gd name="connsiteY51" fmla="*/ 9561 h 9933"/>
              <a:gd name="connsiteX52" fmla="*/ 8259 w 10000"/>
              <a:gd name="connsiteY52" fmla="*/ 8961 h 9933"/>
              <a:gd name="connsiteX53" fmla="*/ 9367 w 10000"/>
              <a:gd name="connsiteY53" fmla="*/ 7977 h 9933"/>
              <a:gd name="connsiteX54" fmla="*/ 9470 w 10000"/>
              <a:gd name="connsiteY54" fmla="*/ 7836 h 9933"/>
              <a:gd name="connsiteX55" fmla="*/ 9516 w 10000"/>
              <a:gd name="connsiteY55" fmla="*/ 7768 h 9933"/>
              <a:gd name="connsiteX56" fmla="*/ 9534 w 10000"/>
              <a:gd name="connsiteY56" fmla="*/ 7747 h 9933"/>
              <a:gd name="connsiteX57" fmla="*/ 9552 w 10000"/>
              <a:gd name="connsiteY57" fmla="*/ 7720 h 9933"/>
              <a:gd name="connsiteX58" fmla="*/ 9571 w 10000"/>
              <a:gd name="connsiteY58" fmla="*/ 7680 h 9933"/>
              <a:gd name="connsiteX59" fmla="*/ 9664 w 10000"/>
              <a:gd name="connsiteY59" fmla="*/ 7525 h 9933"/>
              <a:gd name="connsiteX60" fmla="*/ 9737 w 10000"/>
              <a:gd name="connsiteY60" fmla="*/ 7357 h 9933"/>
              <a:gd name="connsiteX61" fmla="*/ 9959 w 10000"/>
              <a:gd name="connsiteY61" fmla="*/ 6675 h 9933"/>
              <a:gd name="connsiteX62" fmla="*/ 9848 w 10000"/>
              <a:gd name="connsiteY62" fmla="*/ 5239 h 9933"/>
              <a:gd name="connsiteX0" fmla="*/ 9848 w 10000"/>
              <a:gd name="connsiteY0" fmla="*/ 5274 h 9924"/>
              <a:gd name="connsiteX1" fmla="*/ 9136 w 10000"/>
              <a:gd name="connsiteY1" fmla="*/ 3924 h 9924"/>
              <a:gd name="connsiteX2" fmla="*/ 8028 w 10000"/>
              <a:gd name="connsiteY2" fmla="*/ 2791 h 9924"/>
              <a:gd name="connsiteX3" fmla="*/ 6716 w 10000"/>
              <a:gd name="connsiteY3" fmla="*/ 1901 h 9924"/>
              <a:gd name="connsiteX4" fmla="*/ 5359 w 10000"/>
              <a:gd name="connsiteY4" fmla="*/ 1263 h 9924"/>
              <a:gd name="connsiteX5" fmla="*/ 5035 w 10000"/>
              <a:gd name="connsiteY5" fmla="*/ 1134 h 9924"/>
              <a:gd name="connsiteX6" fmla="*/ 4888 w 10000"/>
              <a:gd name="connsiteY6" fmla="*/ 1079 h 9924"/>
              <a:gd name="connsiteX7" fmla="*/ 4822 w 10000"/>
              <a:gd name="connsiteY7" fmla="*/ 1059 h 9924"/>
              <a:gd name="connsiteX8" fmla="*/ 4785 w 10000"/>
              <a:gd name="connsiteY8" fmla="*/ 1045 h 9924"/>
              <a:gd name="connsiteX9" fmla="*/ 4730 w 10000"/>
              <a:gd name="connsiteY9" fmla="*/ 1025 h 9924"/>
              <a:gd name="connsiteX10" fmla="*/ 4138 w 10000"/>
              <a:gd name="connsiteY10" fmla="*/ 842 h 9924"/>
              <a:gd name="connsiteX11" fmla="*/ 3603 w 10000"/>
              <a:gd name="connsiteY11" fmla="*/ 699 h 9924"/>
              <a:gd name="connsiteX12" fmla="*/ 3178 w 10000"/>
              <a:gd name="connsiteY12" fmla="*/ 611 h 9924"/>
              <a:gd name="connsiteX13" fmla="*/ 3326 w 10000"/>
              <a:gd name="connsiteY13" fmla="*/ 0 h 9924"/>
              <a:gd name="connsiteX14" fmla="*/ 0 w 10000"/>
              <a:gd name="connsiteY14" fmla="*/ 883 h 9924"/>
              <a:gd name="connsiteX15" fmla="*/ 2697 w 10000"/>
              <a:gd name="connsiteY15" fmla="*/ 2552 h 9924"/>
              <a:gd name="connsiteX16" fmla="*/ 2864 w 10000"/>
              <a:gd name="connsiteY16" fmla="*/ 1881 h 9924"/>
              <a:gd name="connsiteX17" fmla="*/ 3132 w 10000"/>
              <a:gd name="connsiteY17" fmla="*/ 1921 h 9924"/>
              <a:gd name="connsiteX18" fmla="*/ 3594 w 10000"/>
              <a:gd name="connsiteY18" fmla="*/ 2009 h 9924"/>
              <a:gd name="connsiteX19" fmla="*/ 4120 w 10000"/>
              <a:gd name="connsiteY19" fmla="*/ 2131 h 9924"/>
              <a:gd name="connsiteX20" fmla="*/ 4129 w 10000"/>
              <a:gd name="connsiteY20" fmla="*/ 2131 h 9924"/>
              <a:gd name="connsiteX21" fmla="*/ 4138 w 10000"/>
              <a:gd name="connsiteY21" fmla="*/ 2138 h 9924"/>
              <a:gd name="connsiteX22" fmla="*/ 4129 w 10000"/>
              <a:gd name="connsiteY22" fmla="*/ 2131 h 9924"/>
              <a:gd name="connsiteX23" fmla="*/ 4138 w 10000"/>
              <a:gd name="connsiteY23" fmla="*/ 2131 h 9924"/>
              <a:gd name="connsiteX24" fmla="*/ 4176 w 10000"/>
              <a:gd name="connsiteY24" fmla="*/ 2145 h 9924"/>
              <a:gd name="connsiteX25" fmla="*/ 4250 w 10000"/>
              <a:gd name="connsiteY25" fmla="*/ 2166 h 9924"/>
              <a:gd name="connsiteX26" fmla="*/ 4407 w 10000"/>
              <a:gd name="connsiteY26" fmla="*/ 2206 h 9924"/>
              <a:gd name="connsiteX27" fmla="*/ 4693 w 10000"/>
              <a:gd name="connsiteY27" fmla="*/ 2295 h 9924"/>
              <a:gd name="connsiteX28" fmla="*/ 5904 w 10000"/>
              <a:gd name="connsiteY28" fmla="*/ 2755 h 9924"/>
              <a:gd name="connsiteX29" fmla="*/ 7123 w 10000"/>
              <a:gd name="connsiteY29" fmla="*/ 3435 h 9924"/>
              <a:gd name="connsiteX30" fmla="*/ 8203 w 10000"/>
              <a:gd name="connsiteY30" fmla="*/ 4345 h 9924"/>
              <a:gd name="connsiteX31" fmla="*/ 8962 w 10000"/>
              <a:gd name="connsiteY31" fmla="*/ 5452 h 9924"/>
              <a:gd name="connsiteX32" fmla="*/ 9211 w 10000"/>
              <a:gd name="connsiteY32" fmla="*/ 6673 h 9924"/>
              <a:gd name="connsiteX33" fmla="*/ 9100 w 10000"/>
              <a:gd name="connsiteY33" fmla="*/ 7277 h 9924"/>
              <a:gd name="connsiteX34" fmla="*/ 9054 w 10000"/>
              <a:gd name="connsiteY34" fmla="*/ 7420 h 9924"/>
              <a:gd name="connsiteX35" fmla="*/ 8989 w 10000"/>
              <a:gd name="connsiteY35" fmla="*/ 7563 h 9924"/>
              <a:gd name="connsiteX36" fmla="*/ 8971 w 10000"/>
              <a:gd name="connsiteY36" fmla="*/ 7603 h 9924"/>
              <a:gd name="connsiteX37" fmla="*/ 8971 w 10000"/>
              <a:gd name="connsiteY37" fmla="*/ 7610 h 9924"/>
              <a:gd name="connsiteX38" fmla="*/ 8971 w 10000"/>
              <a:gd name="connsiteY38" fmla="*/ 7616 h 9924"/>
              <a:gd name="connsiteX39" fmla="*/ 8971 w 10000"/>
              <a:gd name="connsiteY39" fmla="*/ 7610 h 9924"/>
              <a:gd name="connsiteX40" fmla="*/ 8962 w 10000"/>
              <a:gd name="connsiteY40" fmla="*/ 7630 h 9924"/>
              <a:gd name="connsiteX41" fmla="*/ 8915 w 10000"/>
              <a:gd name="connsiteY41" fmla="*/ 7705 h 9924"/>
              <a:gd name="connsiteX42" fmla="*/ 8841 w 10000"/>
              <a:gd name="connsiteY42" fmla="*/ 7848 h 9924"/>
              <a:gd name="connsiteX43" fmla="*/ 8665 w 10000"/>
              <a:gd name="connsiteY43" fmla="*/ 8105 h 9924"/>
              <a:gd name="connsiteX44" fmla="*/ 8454 w 10000"/>
              <a:gd name="connsiteY44" fmla="*/ 8357 h 9924"/>
              <a:gd name="connsiteX45" fmla="*/ 8223 w 10000"/>
              <a:gd name="connsiteY45" fmla="*/ 8588 h 9924"/>
              <a:gd name="connsiteX46" fmla="*/ 7963 w 10000"/>
              <a:gd name="connsiteY46" fmla="*/ 8791 h 9924"/>
              <a:gd name="connsiteX47" fmla="*/ 6828 w 10000"/>
              <a:gd name="connsiteY47" fmla="*/ 9443 h 9924"/>
              <a:gd name="connsiteX48" fmla="*/ 5709 w 10000"/>
              <a:gd name="connsiteY48" fmla="*/ 9817 h 9924"/>
              <a:gd name="connsiteX49" fmla="*/ 5211 w 10000"/>
              <a:gd name="connsiteY49" fmla="*/ 9924 h 9924"/>
              <a:gd name="connsiteX50" fmla="*/ 6966 w 10000"/>
              <a:gd name="connsiteY50" fmla="*/ 9625 h 9924"/>
              <a:gd name="connsiteX51" fmla="*/ 8259 w 10000"/>
              <a:gd name="connsiteY51" fmla="*/ 9021 h 9924"/>
              <a:gd name="connsiteX52" fmla="*/ 9367 w 10000"/>
              <a:gd name="connsiteY52" fmla="*/ 8031 h 9924"/>
              <a:gd name="connsiteX53" fmla="*/ 9470 w 10000"/>
              <a:gd name="connsiteY53" fmla="*/ 7889 h 9924"/>
              <a:gd name="connsiteX54" fmla="*/ 9516 w 10000"/>
              <a:gd name="connsiteY54" fmla="*/ 7820 h 9924"/>
              <a:gd name="connsiteX55" fmla="*/ 9534 w 10000"/>
              <a:gd name="connsiteY55" fmla="*/ 7799 h 9924"/>
              <a:gd name="connsiteX56" fmla="*/ 9552 w 10000"/>
              <a:gd name="connsiteY56" fmla="*/ 7772 h 9924"/>
              <a:gd name="connsiteX57" fmla="*/ 9571 w 10000"/>
              <a:gd name="connsiteY57" fmla="*/ 7732 h 9924"/>
              <a:gd name="connsiteX58" fmla="*/ 9664 w 10000"/>
              <a:gd name="connsiteY58" fmla="*/ 7576 h 9924"/>
              <a:gd name="connsiteX59" fmla="*/ 9737 w 10000"/>
              <a:gd name="connsiteY59" fmla="*/ 7407 h 9924"/>
              <a:gd name="connsiteX60" fmla="*/ 9959 w 10000"/>
              <a:gd name="connsiteY60" fmla="*/ 6720 h 9924"/>
              <a:gd name="connsiteX61" fmla="*/ 9848 w 10000"/>
              <a:gd name="connsiteY61" fmla="*/ 5274 h 9924"/>
              <a:gd name="connsiteX0" fmla="*/ 9848 w 10000"/>
              <a:gd name="connsiteY0" fmla="*/ 5314 h 9898"/>
              <a:gd name="connsiteX1" fmla="*/ 9136 w 10000"/>
              <a:gd name="connsiteY1" fmla="*/ 3954 h 9898"/>
              <a:gd name="connsiteX2" fmla="*/ 8028 w 10000"/>
              <a:gd name="connsiteY2" fmla="*/ 2812 h 9898"/>
              <a:gd name="connsiteX3" fmla="*/ 6716 w 10000"/>
              <a:gd name="connsiteY3" fmla="*/ 1916 h 9898"/>
              <a:gd name="connsiteX4" fmla="*/ 5359 w 10000"/>
              <a:gd name="connsiteY4" fmla="*/ 1273 h 9898"/>
              <a:gd name="connsiteX5" fmla="*/ 5035 w 10000"/>
              <a:gd name="connsiteY5" fmla="*/ 1143 h 9898"/>
              <a:gd name="connsiteX6" fmla="*/ 4888 w 10000"/>
              <a:gd name="connsiteY6" fmla="*/ 1087 h 9898"/>
              <a:gd name="connsiteX7" fmla="*/ 4822 w 10000"/>
              <a:gd name="connsiteY7" fmla="*/ 1067 h 9898"/>
              <a:gd name="connsiteX8" fmla="*/ 4785 w 10000"/>
              <a:gd name="connsiteY8" fmla="*/ 1053 h 9898"/>
              <a:gd name="connsiteX9" fmla="*/ 4730 w 10000"/>
              <a:gd name="connsiteY9" fmla="*/ 1033 h 9898"/>
              <a:gd name="connsiteX10" fmla="*/ 4138 w 10000"/>
              <a:gd name="connsiteY10" fmla="*/ 848 h 9898"/>
              <a:gd name="connsiteX11" fmla="*/ 3603 w 10000"/>
              <a:gd name="connsiteY11" fmla="*/ 704 h 9898"/>
              <a:gd name="connsiteX12" fmla="*/ 3178 w 10000"/>
              <a:gd name="connsiteY12" fmla="*/ 616 h 9898"/>
              <a:gd name="connsiteX13" fmla="*/ 3326 w 10000"/>
              <a:gd name="connsiteY13" fmla="*/ 0 h 9898"/>
              <a:gd name="connsiteX14" fmla="*/ 0 w 10000"/>
              <a:gd name="connsiteY14" fmla="*/ 890 h 9898"/>
              <a:gd name="connsiteX15" fmla="*/ 2697 w 10000"/>
              <a:gd name="connsiteY15" fmla="*/ 2572 h 9898"/>
              <a:gd name="connsiteX16" fmla="*/ 2864 w 10000"/>
              <a:gd name="connsiteY16" fmla="*/ 1895 h 9898"/>
              <a:gd name="connsiteX17" fmla="*/ 3132 w 10000"/>
              <a:gd name="connsiteY17" fmla="*/ 1936 h 9898"/>
              <a:gd name="connsiteX18" fmla="*/ 3594 w 10000"/>
              <a:gd name="connsiteY18" fmla="*/ 2024 h 9898"/>
              <a:gd name="connsiteX19" fmla="*/ 4120 w 10000"/>
              <a:gd name="connsiteY19" fmla="*/ 2147 h 9898"/>
              <a:gd name="connsiteX20" fmla="*/ 4129 w 10000"/>
              <a:gd name="connsiteY20" fmla="*/ 2147 h 9898"/>
              <a:gd name="connsiteX21" fmla="*/ 4138 w 10000"/>
              <a:gd name="connsiteY21" fmla="*/ 2154 h 9898"/>
              <a:gd name="connsiteX22" fmla="*/ 4129 w 10000"/>
              <a:gd name="connsiteY22" fmla="*/ 2147 h 9898"/>
              <a:gd name="connsiteX23" fmla="*/ 4138 w 10000"/>
              <a:gd name="connsiteY23" fmla="*/ 2147 h 9898"/>
              <a:gd name="connsiteX24" fmla="*/ 4176 w 10000"/>
              <a:gd name="connsiteY24" fmla="*/ 2161 h 9898"/>
              <a:gd name="connsiteX25" fmla="*/ 4250 w 10000"/>
              <a:gd name="connsiteY25" fmla="*/ 2183 h 9898"/>
              <a:gd name="connsiteX26" fmla="*/ 4407 w 10000"/>
              <a:gd name="connsiteY26" fmla="*/ 2223 h 9898"/>
              <a:gd name="connsiteX27" fmla="*/ 4693 w 10000"/>
              <a:gd name="connsiteY27" fmla="*/ 2313 h 9898"/>
              <a:gd name="connsiteX28" fmla="*/ 5904 w 10000"/>
              <a:gd name="connsiteY28" fmla="*/ 2776 h 9898"/>
              <a:gd name="connsiteX29" fmla="*/ 7123 w 10000"/>
              <a:gd name="connsiteY29" fmla="*/ 3461 h 9898"/>
              <a:gd name="connsiteX30" fmla="*/ 8203 w 10000"/>
              <a:gd name="connsiteY30" fmla="*/ 4378 h 9898"/>
              <a:gd name="connsiteX31" fmla="*/ 8962 w 10000"/>
              <a:gd name="connsiteY31" fmla="*/ 5494 h 9898"/>
              <a:gd name="connsiteX32" fmla="*/ 9211 w 10000"/>
              <a:gd name="connsiteY32" fmla="*/ 6724 h 9898"/>
              <a:gd name="connsiteX33" fmla="*/ 9100 w 10000"/>
              <a:gd name="connsiteY33" fmla="*/ 7333 h 9898"/>
              <a:gd name="connsiteX34" fmla="*/ 9054 w 10000"/>
              <a:gd name="connsiteY34" fmla="*/ 7477 h 9898"/>
              <a:gd name="connsiteX35" fmla="*/ 8989 w 10000"/>
              <a:gd name="connsiteY35" fmla="*/ 7621 h 9898"/>
              <a:gd name="connsiteX36" fmla="*/ 8971 w 10000"/>
              <a:gd name="connsiteY36" fmla="*/ 7661 h 9898"/>
              <a:gd name="connsiteX37" fmla="*/ 8971 w 10000"/>
              <a:gd name="connsiteY37" fmla="*/ 7668 h 9898"/>
              <a:gd name="connsiteX38" fmla="*/ 8971 w 10000"/>
              <a:gd name="connsiteY38" fmla="*/ 7674 h 9898"/>
              <a:gd name="connsiteX39" fmla="*/ 8971 w 10000"/>
              <a:gd name="connsiteY39" fmla="*/ 7668 h 9898"/>
              <a:gd name="connsiteX40" fmla="*/ 8962 w 10000"/>
              <a:gd name="connsiteY40" fmla="*/ 7688 h 9898"/>
              <a:gd name="connsiteX41" fmla="*/ 8915 w 10000"/>
              <a:gd name="connsiteY41" fmla="*/ 7764 h 9898"/>
              <a:gd name="connsiteX42" fmla="*/ 8841 w 10000"/>
              <a:gd name="connsiteY42" fmla="*/ 7908 h 9898"/>
              <a:gd name="connsiteX43" fmla="*/ 8665 w 10000"/>
              <a:gd name="connsiteY43" fmla="*/ 8167 h 9898"/>
              <a:gd name="connsiteX44" fmla="*/ 8454 w 10000"/>
              <a:gd name="connsiteY44" fmla="*/ 8421 h 9898"/>
              <a:gd name="connsiteX45" fmla="*/ 8223 w 10000"/>
              <a:gd name="connsiteY45" fmla="*/ 8654 h 9898"/>
              <a:gd name="connsiteX46" fmla="*/ 7963 w 10000"/>
              <a:gd name="connsiteY46" fmla="*/ 8858 h 9898"/>
              <a:gd name="connsiteX47" fmla="*/ 6828 w 10000"/>
              <a:gd name="connsiteY47" fmla="*/ 9515 h 9898"/>
              <a:gd name="connsiteX48" fmla="*/ 5709 w 10000"/>
              <a:gd name="connsiteY48" fmla="*/ 9892 h 9898"/>
              <a:gd name="connsiteX49" fmla="*/ 6966 w 10000"/>
              <a:gd name="connsiteY49" fmla="*/ 9699 h 9898"/>
              <a:gd name="connsiteX50" fmla="*/ 8259 w 10000"/>
              <a:gd name="connsiteY50" fmla="*/ 9090 h 9898"/>
              <a:gd name="connsiteX51" fmla="*/ 9367 w 10000"/>
              <a:gd name="connsiteY51" fmla="*/ 8093 h 9898"/>
              <a:gd name="connsiteX52" fmla="*/ 9470 w 10000"/>
              <a:gd name="connsiteY52" fmla="*/ 7949 h 9898"/>
              <a:gd name="connsiteX53" fmla="*/ 9516 w 10000"/>
              <a:gd name="connsiteY53" fmla="*/ 7880 h 9898"/>
              <a:gd name="connsiteX54" fmla="*/ 9534 w 10000"/>
              <a:gd name="connsiteY54" fmla="*/ 7859 h 9898"/>
              <a:gd name="connsiteX55" fmla="*/ 9552 w 10000"/>
              <a:gd name="connsiteY55" fmla="*/ 7832 h 9898"/>
              <a:gd name="connsiteX56" fmla="*/ 9571 w 10000"/>
              <a:gd name="connsiteY56" fmla="*/ 7791 h 9898"/>
              <a:gd name="connsiteX57" fmla="*/ 9664 w 10000"/>
              <a:gd name="connsiteY57" fmla="*/ 7634 h 9898"/>
              <a:gd name="connsiteX58" fmla="*/ 9737 w 10000"/>
              <a:gd name="connsiteY58" fmla="*/ 7464 h 9898"/>
              <a:gd name="connsiteX59" fmla="*/ 9959 w 10000"/>
              <a:gd name="connsiteY59" fmla="*/ 6771 h 9898"/>
              <a:gd name="connsiteX60" fmla="*/ 9848 w 10000"/>
              <a:gd name="connsiteY60" fmla="*/ 5314 h 9898"/>
              <a:gd name="connsiteX0" fmla="*/ 9848 w 10000"/>
              <a:gd name="connsiteY0" fmla="*/ 5369 h 9820"/>
              <a:gd name="connsiteX1" fmla="*/ 9136 w 10000"/>
              <a:gd name="connsiteY1" fmla="*/ 3995 h 9820"/>
              <a:gd name="connsiteX2" fmla="*/ 8028 w 10000"/>
              <a:gd name="connsiteY2" fmla="*/ 2841 h 9820"/>
              <a:gd name="connsiteX3" fmla="*/ 6716 w 10000"/>
              <a:gd name="connsiteY3" fmla="*/ 1936 h 9820"/>
              <a:gd name="connsiteX4" fmla="*/ 5359 w 10000"/>
              <a:gd name="connsiteY4" fmla="*/ 1286 h 9820"/>
              <a:gd name="connsiteX5" fmla="*/ 5035 w 10000"/>
              <a:gd name="connsiteY5" fmla="*/ 1155 h 9820"/>
              <a:gd name="connsiteX6" fmla="*/ 4888 w 10000"/>
              <a:gd name="connsiteY6" fmla="*/ 1098 h 9820"/>
              <a:gd name="connsiteX7" fmla="*/ 4822 w 10000"/>
              <a:gd name="connsiteY7" fmla="*/ 1078 h 9820"/>
              <a:gd name="connsiteX8" fmla="*/ 4785 w 10000"/>
              <a:gd name="connsiteY8" fmla="*/ 1064 h 9820"/>
              <a:gd name="connsiteX9" fmla="*/ 4730 w 10000"/>
              <a:gd name="connsiteY9" fmla="*/ 1044 h 9820"/>
              <a:gd name="connsiteX10" fmla="*/ 4138 w 10000"/>
              <a:gd name="connsiteY10" fmla="*/ 857 h 9820"/>
              <a:gd name="connsiteX11" fmla="*/ 3603 w 10000"/>
              <a:gd name="connsiteY11" fmla="*/ 711 h 9820"/>
              <a:gd name="connsiteX12" fmla="*/ 3178 w 10000"/>
              <a:gd name="connsiteY12" fmla="*/ 622 h 9820"/>
              <a:gd name="connsiteX13" fmla="*/ 3326 w 10000"/>
              <a:gd name="connsiteY13" fmla="*/ 0 h 9820"/>
              <a:gd name="connsiteX14" fmla="*/ 0 w 10000"/>
              <a:gd name="connsiteY14" fmla="*/ 899 h 9820"/>
              <a:gd name="connsiteX15" fmla="*/ 2697 w 10000"/>
              <a:gd name="connsiteY15" fmla="*/ 2599 h 9820"/>
              <a:gd name="connsiteX16" fmla="*/ 2864 w 10000"/>
              <a:gd name="connsiteY16" fmla="*/ 1915 h 9820"/>
              <a:gd name="connsiteX17" fmla="*/ 3132 w 10000"/>
              <a:gd name="connsiteY17" fmla="*/ 1956 h 9820"/>
              <a:gd name="connsiteX18" fmla="*/ 3594 w 10000"/>
              <a:gd name="connsiteY18" fmla="*/ 2045 h 9820"/>
              <a:gd name="connsiteX19" fmla="*/ 4120 w 10000"/>
              <a:gd name="connsiteY19" fmla="*/ 2169 h 9820"/>
              <a:gd name="connsiteX20" fmla="*/ 4129 w 10000"/>
              <a:gd name="connsiteY20" fmla="*/ 2169 h 9820"/>
              <a:gd name="connsiteX21" fmla="*/ 4138 w 10000"/>
              <a:gd name="connsiteY21" fmla="*/ 2176 h 9820"/>
              <a:gd name="connsiteX22" fmla="*/ 4129 w 10000"/>
              <a:gd name="connsiteY22" fmla="*/ 2169 h 9820"/>
              <a:gd name="connsiteX23" fmla="*/ 4138 w 10000"/>
              <a:gd name="connsiteY23" fmla="*/ 2169 h 9820"/>
              <a:gd name="connsiteX24" fmla="*/ 4176 w 10000"/>
              <a:gd name="connsiteY24" fmla="*/ 2183 h 9820"/>
              <a:gd name="connsiteX25" fmla="*/ 4250 w 10000"/>
              <a:gd name="connsiteY25" fmla="*/ 2205 h 9820"/>
              <a:gd name="connsiteX26" fmla="*/ 4407 w 10000"/>
              <a:gd name="connsiteY26" fmla="*/ 2246 h 9820"/>
              <a:gd name="connsiteX27" fmla="*/ 4693 w 10000"/>
              <a:gd name="connsiteY27" fmla="*/ 2337 h 9820"/>
              <a:gd name="connsiteX28" fmla="*/ 5904 w 10000"/>
              <a:gd name="connsiteY28" fmla="*/ 2805 h 9820"/>
              <a:gd name="connsiteX29" fmla="*/ 7123 w 10000"/>
              <a:gd name="connsiteY29" fmla="*/ 3497 h 9820"/>
              <a:gd name="connsiteX30" fmla="*/ 8203 w 10000"/>
              <a:gd name="connsiteY30" fmla="*/ 4423 h 9820"/>
              <a:gd name="connsiteX31" fmla="*/ 8962 w 10000"/>
              <a:gd name="connsiteY31" fmla="*/ 5551 h 9820"/>
              <a:gd name="connsiteX32" fmla="*/ 9211 w 10000"/>
              <a:gd name="connsiteY32" fmla="*/ 6793 h 9820"/>
              <a:gd name="connsiteX33" fmla="*/ 9100 w 10000"/>
              <a:gd name="connsiteY33" fmla="*/ 7409 h 9820"/>
              <a:gd name="connsiteX34" fmla="*/ 9054 w 10000"/>
              <a:gd name="connsiteY34" fmla="*/ 7554 h 9820"/>
              <a:gd name="connsiteX35" fmla="*/ 8989 w 10000"/>
              <a:gd name="connsiteY35" fmla="*/ 7700 h 9820"/>
              <a:gd name="connsiteX36" fmla="*/ 8971 w 10000"/>
              <a:gd name="connsiteY36" fmla="*/ 7740 h 9820"/>
              <a:gd name="connsiteX37" fmla="*/ 8971 w 10000"/>
              <a:gd name="connsiteY37" fmla="*/ 7747 h 9820"/>
              <a:gd name="connsiteX38" fmla="*/ 8971 w 10000"/>
              <a:gd name="connsiteY38" fmla="*/ 7753 h 9820"/>
              <a:gd name="connsiteX39" fmla="*/ 8971 w 10000"/>
              <a:gd name="connsiteY39" fmla="*/ 7747 h 9820"/>
              <a:gd name="connsiteX40" fmla="*/ 8962 w 10000"/>
              <a:gd name="connsiteY40" fmla="*/ 7767 h 9820"/>
              <a:gd name="connsiteX41" fmla="*/ 8915 w 10000"/>
              <a:gd name="connsiteY41" fmla="*/ 7844 h 9820"/>
              <a:gd name="connsiteX42" fmla="*/ 8841 w 10000"/>
              <a:gd name="connsiteY42" fmla="*/ 7989 h 9820"/>
              <a:gd name="connsiteX43" fmla="*/ 8665 w 10000"/>
              <a:gd name="connsiteY43" fmla="*/ 8251 h 9820"/>
              <a:gd name="connsiteX44" fmla="*/ 8454 w 10000"/>
              <a:gd name="connsiteY44" fmla="*/ 8508 h 9820"/>
              <a:gd name="connsiteX45" fmla="*/ 8223 w 10000"/>
              <a:gd name="connsiteY45" fmla="*/ 8743 h 9820"/>
              <a:gd name="connsiteX46" fmla="*/ 7963 w 10000"/>
              <a:gd name="connsiteY46" fmla="*/ 8949 h 9820"/>
              <a:gd name="connsiteX47" fmla="*/ 6828 w 10000"/>
              <a:gd name="connsiteY47" fmla="*/ 9613 h 9820"/>
              <a:gd name="connsiteX48" fmla="*/ 6966 w 10000"/>
              <a:gd name="connsiteY48" fmla="*/ 9799 h 9820"/>
              <a:gd name="connsiteX49" fmla="*/ 8259 w 10000"/>
              <a:gd name="connsiteY49" fmla="*/ 9184 h 9820"/>
              <a:gd name="connsiteX50" fmla="*/ 9367 w 10000"/>
              <a:gd name="connsiteY50" fmla="*/ 8176 h 9820"/>
              <a:gd name="connsiteX51" fmla="*/ 9470 w 10000"/>
              <a:gd name="connsiteY51" fmla="*/ 8031 h 9820"/>
              <a:gd name="connsiteX52" fmla="*/ 9516 w 10000"/>
              <a:gd name="connsiteY52" fmla="*/ 7961 h 9820"/>
              <a:gd name="connsiteX53" fmla="*/ 9534 w 10000"/>
              <a:gd name="connsiteY53" fmla="*/ 7940 h 9820"/>
              <a:gd name="connsiteX54" fmla="*/ 9552 w 10000"/>
              <a:gd name="connsiteY54" fmla="*/ 7913 h 9820"/>
              <a:gd name="connsiteX55" fmla="*/ 9571 w 10000"/>
              <a:gd name="connsiteY55" fmla="*/ 7871 h 9820"/>
              <a:gd name="connsiteX56" fmla="*/ 9664 w 10000"/>
              <a:gd name="connsiteY56" fmla="*/ 7713 h 9820"/>
              <a:gd name="connsiteX57" fmla="*/ 9737 w 10000"/>
              <a:gd name="connsiteY57" fmla="*/ 7541 h 9820"/>
              <a:gd name="connsiteX58" fmla="*/ 9959 w 10000"/>
              <a:gd name="connsiteY58" fmla="*/ 6841 h 9820"/>
              <a:gd name="connsiteX59" fmla="*/ 9848 w 10000"/>
              <a:gd name="connsiteY59" fmla="*/ 5369 h 9820"/>
              <a:gd name="connsiteX0" fmla="*/ 9848 w 10000"/>
              <a:gd name="connsiteY0" fmla="*/ 5467 h 9793"/>
              <a:gd name="connsiteX1" fmla="*/ 9136 w 10000"/>
              <a:gd name="connsiteY1" fmla="*/ 4068 h 9793"/>
              <a:gd name="connsiteX2" fmla="*/ 8028 w 10000"/>
              <a:gd name="connsiteY2" fmla="*/ 2893 h 9793"/>
              <a:gd name="connsiteX3" fmla="*/ 6716 w 10000"/>
              <a:gd name="connsiteY3" fmla="*/ 1971 h 9793"/>
              <a:gd name="connsiteX4" fmla="*/ 5359 w 10000"/>
              <a:gd name="connsiteY4" fmla="*/ 1310 h 9793"/>
              <a:gd name="connsiteX5" fmla="*/ 5035 w 10000"/>
              <a:gd name="connsiteY5" fmla="*/ 1176 h 9793"/>
              <a:gd name="connsiteX6" fmla="*/ 4888 w 10000"/>
              <a:gd name="connsiteY6" fmla="*/ 1118 h 9793"/>
              <a:gd name="connsiteX7" fmla="*/ 4822 w 10000"/>
              <a:gd name="connsiteY7" fmla="*/ 1098 h 9793"/>
              <a:gd name="connsiteX8" fmla="*/ 4785 w 10000"/>
              <a:gd name="connsiteY8" fmla="*/ 1084 h 9793"/>
              <a:gd name="connsiteX9" fmla="*/ 4730 w 10000"/>
              <a:gd name="connsiteY9" fmla="*/ 1063 h 9793"/>
              <a:gd name="connsiteX10" fmla="*/ 4138 w 10000"/>
              <a:gd name="connsiteY10" fmla="*/ 873 h 9793"/>
              <a:gd name="connsiteX11" fmla="*/ 3603 w 10000"/>
              <a:gd name="connsiteY11" fmla="*/ 724 h 9793"/>
              <a:gd name="connsiteX12" fmla="*/ 3178 w 10000"/>
              <a:gd name="connsiteY12" fmla="*/ 633 h 9793"/>
              <a:gd name="connsiteX13" fmla="*/ 3326 w 10000"/>
              <a:gd name="connsiteY13" fmla="*/ 0 h 9793"/>
              <a:gd name="connsiteX14" fmla="*/ 0 w 10000"/>
              <a:gd name="connsiteY14" fmla="*/ 915 h 9793"/>
              <a:gd name="connsiteX15" fmla="*/ 2697 w 10000"/>
              <a:gd name="connsiteY15" fmla="*/ 2647 h 9793"/>
              <a:gd name="connsiteX16" fmla="*/ 2864 w 10000"/>
              <a:gd name="connsiteY16" fmla="*/ 1950 h 9793"/>
              <a:gd name="connsiteX17" fmla="*/ 3132 w 10000"/>
              <a:gd name="connsiteY17" fmla="*/ 1992 h 9793"/>
              <a:gd name="connsiteX18" fmla="*/ 3594 w 10000"/>
              <a:gd name="connsiteY18" fmla="*/ 2082 h 9793"/>
              <a:gd name="connsiteX19" fmla="*/ 4120 w 10000"/>
              <a:gd name="connsiteY19" fmla="*/ 2209 h 9793"/>
              <a:gd name="connsiteX20" fmla="*/ 4129 w 10000"/>
              <a:gd name="connsiteY20" fmla="*/ 2209 h 9793"/>
              <a:gd name="connsiteX21" fmla="*/ 4138 w 10000"/>
              <a:gd name="connsiteY21" fmla="*/ 2216 h 9793"/>
              <a:gd name="connsiteX22" fmla="*/ 4129 w 10000"/>
              <a:gd name="connsiteY22" fmla="*/ 2209 h 9793"/>
              <a:gd name="connsiteX23" fmla="*/ 4138 w 10000"/>
              <a:gd name="connsiteY23" fmla="*/ 2209 h 9793"/>
              <a:gd name="connsiteX24" fmla="*/ 4176 w 10000"/>
              <a:gd name="connsiteY24" fmla="*/ 2223 h 9793"/>
              <a:gd name="connsiteX25" fmla="*/ 4250 w 10000"/>
              <a:gd name="connsiteY25" fmla="*/ 2245 h 9793"/>
              <a:gd name="connsiteX26" fmla="*/ 4407 w 10000"/>
              <a:gd name="connsiteY26" fmla="*/ 2287 h 9793"/>
              <a:gd name="connsiteX27" fmla="*/ 4693 w 10000"/>
              <a:gd name="connsiteY27" fmla="*/ 2380 h 9793"/>
              <a:gd name="connsiteX28" fmla="*/ 5904 w 10000"/>
              <a:gd name="connsiteY28" fmla="*/ 2856 h 9793"/>
              <a:gd name="connsiteX29" fmla="*/ 7123 w 10000"/>
              <a:gd name="connsiteY29" fmla="*/ 3561 h 9793"/>
              <a:gd name="connsiteX30" fmla="*/ 8203 w 10000"/>
              <a:gd name="connsiteY30" fmla="*/ 4504 h 9793"/>
              <a:gd name="connsiteX31" fmla="*/ 8962 w 10000"/>
              <a:gd name="connsiteY31" fmla="*/ 5653 h 9793"/>
              <a:gd name="connsiteX32" fmla="*/ 9211 w 10000"/>
              <a:gd name="connsiteY32" fmla="*/ 6918 h 9793"/>
              <a:gd name="connsiteX33" fmla="*/ 9100 w 10000"/>
              <a:gd name="connsiteY33" fmla="*/ 7545 h 9793"/>
              <a:gd name="connsiteX34" fmla="*/ 9054 w 10000"/>
              <a:gd name="connsiteY34" fmla="*/ 7692 h 9793"/>
              <a:gd name="connsiteX35" fmla="*/ 8989 w 10000"/>
              <a:gd name="connsiteY35" fmla="*/ 7841 h 9793"/>
              <a:gd name="connsiteX36" fmla="*/ 8971 w 10000"/>
              <a:gd name="connsiteY36" fmla="*/ 7882 h 9793"/>
              <a:gd name="connsiteX37" fmla="*/ 8971 w 10000"/>
              <a:gd name="connsiteY37" fmla="*/ 7889 h 9793"/>
              <a:gd name="connsiteX38" fmla="*/ 8971 w 10000"/>
              <a:gd name="connsiteY38" fmla="*/ 7895 h 9793"/>
              <a:gd name="connsiteX39" fmla="*/ 8971 w 10000"/>
              <a:gd name="connsiteY39" fmla="*/ 7889 h 9793"/>
              <a:gd name="connsiteX40" fmla="*/ 8962 w 10000"/>
              <a:gd name="connsiteY40" fmla="*/ 7909 h 9793"/>
              <a:gd name="connsiteX41" fmla="*/ 8915 w 10000"/>
              <a:gd name="connsiteY41" fmla="*/ 7988 h 9793"/>
              <a:gd name="connsiteX42" fmla="*/ 8841 w 10000"/>
              <a:gd name="connsiteY42" fmla="*/ 8135 h 9793"/>
              <a:gd name="connsiteX43" fmla="*/ 8665 w 10000"/>
              <a:gd name="connsiteY43" fmla="*/ 8402 h 9793"/>
              <a:gd name="connsiteX44" fmla="*/ 8454 w 10000"/>
              <a:gd name="connsiteY44" fmla="*/ 8664 h 9793"/>
              <a:gd name="connsiteX45" fmla="*/ 8223 w 10000"/>
              <a:gd name="connsiteY45" fmla="*/ 8903 h 9793"/>
              <a:gd name="connsiteX46" fmla="*/ 7963 w 10000"/>
              <a:gd name="connsiteY46" fmla="*/ 9113 h 9793"/>
              <a:gd name="connsiteX47" fmla="*/ 6828 w 10000"/>
              <a:gd name="connsiteY47" fmla="*/ 9789 h 9793"/>
              <a:gd name="connsiteX48" fmla="*/ 8259 w 10000"/>
              <a:gd name="connsiteY48" fmla="*/ 9352 h 9793"/>
              <a:gd name="connsiteX49" fmla="*/ 9367 w 10000"/>
              <a:gd name="connsiteY49" fmla="*/ 8326 h 9793"/>
              <a:gd name="connsiteX50" fmla="*/ 9470 w 10000"/>
              <a:gd name="connsiteY50" fmla="*/ 8178 h 9793"/>
              <a:gd name="connsiteX51" fmla="*/ 9516 w 10000"/>
              <a:gd name="connsiteY51" fmla="*/ 8107 h 9793"/>
              <a:gd name="connsiteX52" fmla="*/ 9534 w 10000"/>
              <a:gd name="connsiteY52" fmla="*/ 8086 h 9793"/>
              <a:gd name="connsiteX53" fmla="*/ 9552 w 10000"/>
              <a:gd name="connsiteY53" fmla="*/ 8058 h 9793"/>
              <a:gd name="connsiteX54" fmla="*/ 9571 w 10000"/>
              <a:gd name="connsiteY54" fmla="*/ 8015 h 9793"/>
              <a:gd name="connsiteX55" fmla="*/ 9664 w 10000"/>
              <a:gd name="connsiteY55" fmla="*/ 7854 h 9793"/>
              <a:gd name="connsiteX56" fmla="*/ 9737 w 10000"/>
              <a:gd name="connsiteY56" fmla="*/ 7679 h 9793"/>
              <a:gd name="connsiteX57" fmla="*/ 9959 w 10000"/>
              <a:gd name="connsiteY57" fmla="*/ 6966 h 9793"/>
              <a:gd name="connsiteX58" fmla="*/ 9848 w 10000"/>
              <a:gd name="connsiteY58" fmla="*/ 5467 h 9793"/>
              <a:gd name="connsiteX0" fmla="*/ 9848 w 10000"/>
              <a:gd name="connsiteY0" fmla="*/ 5583 h 9583"/>
              <a:gd name="connsiteX1" fmla="*/ 9136 w 10000"/>
              <a:gd name="connsiteY1" fmla="*/ 4154 h 9583"/>
              <a:gd name="connsiteX2" fmla="*/ 8028 w 10000"/>
              <a:gd name="connsiteY2" fmla="*/ 2954 h 9583"/>
              <a:gd name="connsiteX3" fmla="*/ 6716 w 10000"/>
              <a:gd name="connsiteY3" fmla="*/ 2013 h 9583"/>
              <a:gd name="connsiteX4" fmla="*/ 5359 w 10000"/>
              <a:gd name="connsiteY4" fmla="*/ 1338 h 9583"/>
              <a:gd name="connsiteX5" fmla="*/ 5035 w 10000"/>
              <a:gd name="connsiteY5" fmla="*/ 1201 h 9583"/>
              <a:gd name="connsiteX6" fmla="*/ 4888 w 10000"/>
              <a:gd name="connsiteY6" fmla="*/ 1142 h 9583"/>
              <a:gd name="connsiteX7" fmla="*/ 4822 w 10000"/>
              <a:gd name="connsiteY7" fmla="*/ 1121 h 9583"/>
              <a:gd name="connsiteX8" fmla="*/ 4785 w 10000"/>
              <a:gd name="connsiteY8" fmla="*/ 1107 h 9583"/>
              <a:gd name="connsiteX9" fmla="*/ 4730 w 10000"/>
              <a:gd name="connsiteY9" fmla="*/ 1085 h 9583"/>
              <a:gd name="connsiteX10" fmla="*/ 4138 w 10000"/>
              <a:gd name="connsiteY10" fmla="*/ 891 h 9583"/>
              <a:gd name="connsiteX11" fmla="*/ 3603 w 10000"/>
              <a:gd name="connsiteY11" fmla="*/ 739 h 9583"/>
              <a:gd name="connsiteX12" fmla="*/ 3178 w 10000"/>
              <a:gd name="connsiteY12" fmla="*/ 646 h 9583"/>
              <a:gd name="connsiteX13" fmla="*/ 3326 w 10000"/>
              <a:gd name="connsiteY13" fmla="*/ 0 h 9583"/>
              <a:gd name="connsiteX14" fmla="*/ 0 w 10000"/>
              <a:gd name="connsiteY14" fmla="*/ 934 h 9583"/>
              <a:gd name="connsiteX15" fmla="*/ 2697 w 10000"/>
              <a:gd name="connsiteY15" fmla="*/ 2703 h 9583"/>
              <a:gd name="connsiteX16" fmla="*/ 2864 w 10000"/>
              <a:gd name="connsiteY16" fmla="*/ 1991 h 9583"/>
              <a:gd name="connsiteX17" fmla="*/ 3132 w 10000"/>
              <a:gd name="connsiteY17" fmla="*/ 2034 h 9583"/>
              <a:gd name="connsiteX18" fmla="*/ 3594 w 10000"/>
              <a:gd name="connsiteY18" fmla="*/ 2126 h 9583"/>
              <a:gd name="connsiteX19" fmla="*/ 4120 w 10000"/>
              <a:gd name="connsiteY19" fmla="*/ 2256 h 9583"/>
              <a:gd name="connsiteX20" fmla="*/ 4129 w 10000"/>
              <a:gd name="connsiteY20" fmla="*/ 2256 h 9583"/>
              <a:gd name="connsiteX21" fmla="*/ 4138 w 10000"/>
              <a:gd name="connsiteY21" fmla="*/ 2263 h 9583"/>
              <a:gd name="connsiteX22" fmla="*/ 4129 w 10000"/>
              <a:gd name="connsiteY22" fmla="*/ 2256 h 9583"/>
              <a:gd name="connsiteX23" fmla="*/ 4138 w 10000"/>
              <a:gd name="connsiteY23" fmla="*/ 2256 h 9583"/>
              <a:gd name="connsiteX24" fmla="*/ 4176 w 10000"/>
              <a:gd name="connsiteY24" fmla="*/ 2270 h 9583"/>
              <a:gd name="connsiteX25" fmla="*/ 4250 w 10000"/>
              <a:gd name="connsiteY25" fmla="*/ 2292 h 9583"/>
              <a:gd name="connsiteX26" fmla="*/ 4407 w 10000"/>
              <a:gd name="connsiteY26" fmla="*/ 2335 h 9583"/>
              <a:gd name="connsiteX27" fmla="*/ 4693 w 10000"/>
              <a:gd name="connsiteY27" fmla="*/ 2430 h 9583"/>
              <a:gd name="connsiteX28" fmla="*/ 5904 w 10000"/>
              <a:gd name="connsiteY28" fmla="*/ 2916 h 9583"/>
              <a:gd name="connsiteX29" fmla="*/ 7123 w 10000"/>
              <a:gd name="connsiteY29" fmla="*/ 3636 h 9583"/>
              <a:gd name="connsiteX30" fmla="*/ 8203 w 10000"/>
              <a:gd name="connsiteY30" fmla="*/ 4599 h 9583"/>
              <a:gd name="connsiteX31" fmla="*/ 8962 w 10000"/>
              <a:gd name="connsiteY31" fmla="*/ 5772 h 9583"/>
              <a:gd name="connsiteX32" fmla="*/ 9211 w 10000"/>
              <a:gd name="connsiteY32" fmla="*/ 7064 h 9583"/>
              <a:gd name="connsiteX33" fmla="*/ 9100 w 10000"/>
              <a:gd name="connsiteY33" fmla="*/ 7704 h 9583"/>
              <a:gd name="connsiteX34" fmla="*/ 9054 w 10000"/>
              <a:gd name="connsiteY34" fmla="*/ 7855 h 9583"/>
              <a:gd name="connsiteX35" fmla="*/ 8989 w 10000"/>
              <a:gd name="connsiteY35" fmla="*/ 8007 h 9583"/>
              <a:gd name="connsiteX36" fmla="*/ 8971 w 10000"/>
              <a:gd name="connsiteY36" fmla="*/ 8049 h 9583"/>
              <a:gd name="connsiteX37" fmla="*/ 8971 w 10000"/>
              <a:gd name="connsiteY37" fmla="*/ 8056 h 9583"/>
              <a:gd name="connsiteX38" fmla="*/ 8971 w 10000"/>
              <a:gd name="connsiteY38" fmla="*/ 8062 h 9583"/>
              <a:gd name="connsiteX39" fmla="*/ 8971 w 10000"/>
              <a:gd name="connsiteY39" fmla="*/ 8056 h 9583"/>
              <a:gd name="connsiteX40" fmla="*/ 8962 w 10000"/>
              <a:gd name="connsiteY40" fmla="*/ 8076 h 9583"/>
              <a:gd name="connsiteX41" fmla="*/ 8915 w 10000"/>
              <a:gd name="connsiteY41" fmla="*/ 8157 h 9583"/>
              <a:gd name="connsiteX42" fmla="*/ 8841 w 10000"/>
              <a:gd name="connsiteY42" fmla="*/ 8307 h 9583"/>
              <a:gd name="connsiteX43" fmla="*/ 8665 w 10000"/>
              <a:gd name="connsiteY43" fmla="*/ 8580 h 9583"/>
              <a:gd name="connsiteX44" fmla="*/ 8454 w 10000"/>
              <a:gd name="connsiteY44" fmla="*/ 8847 h 9583"/>
              <a:gd name="connsiteX45" fmla="*/ 8223 w 10000"/>
              <a:gd name="connsiteY45" fmla="*/ 9091 h 9583"/>
              <a:gd name="connsiteX46" fmla="*/ 7963 w 10000"/>
              <a:gd name="connsiteY46" fmla="*/ 9306 h 9583"/>
              <a:gd name="connsiteX47" fmla="*/ 8259 w 10000"/>
              <a:gd name="connsiteY47" fmla="*/ 9550 h 9583"/>
              <a:gd name="connsiteX48" fmla="*/ 9367 w 10000"/>
              <a:gd name="connsiteY48" fmla="*/ 8502 h 9583"/>
              <a:gd name="connsiteX49" fmla="*/ 9470 w 10000"/>
              <a:gd name="connsiteY49" fmla="*/ 8351 h 9583"/>
              <a:gd name="connsiteX50" fmla="*/ 9516 w 10000"/>
              <a:gd name="connsiteY50" fmla="*/ 8278 h 9583"/>
              <a:gd name="connsiteX51" fmla="*/ 9534 w 10000"/>
              <a:gd name="connsiteY51" fmla="*/ 8257 h 9583"/>
              <a:gd name="connsiteX52" fmla="*/ 9552 w 10000"/>
              <a:gd name="connsiteY52" fmla="*/ 8228 h 9583"/>
              <a:gd name="connsiteX53" fmla="*/ 9571 w 10000"/>
              <a:gd name="connsiteY53" fmla="*/ 8184 h 9583"/>
              <a:gd name="connsiteX54" fmla="*/ 9664 w 10000"/>
              <a:gd name="connsiteY54" fmla="*/ 8020 h 9583"/>
              <a:gd name="connsiteX55" fmla="*/ 9737 w 10000"/>
              <a:gd name="connsiteY55" fmla="*/ 7841 h 9583"/>
              <a:gd name="connsiteX56" fmla="*/ 9959 w 10000"/>
              <a:gd name="connsiteY56" fmla="*/ 7113 h 9583"/>
              <a:gd name="connsiteX57" fmla="*/ 9848 w 10000"/>
              <a:gd name="connsiteY57" fmla="*/ 5583 h 9583"/>
              <a:gd name="connsiteX0" fmla="*/ 9848 w 10000"/>
              <a:gd name="connsiteY0" fmla="*/ 5826 h 9711"/>
              <a:gd name="connsiteX1" fmla="*/ 9136 w 10000"/>
              <a:gd name="connsiteY1" fmla="*/ 4335 h 9711"/>
              <a:gd name="connsiteX2" fmla="*/ 8028 w 10000"/>
              <a:gd name="connsiteY2" fmla="*/ 3083 h 9711"/>
              <a:gd name="connsiteX3" fmla="*/ 6716 w 10000"/>
              <a:gd name="connsiteY3" fmla="*/ 2101 h 9711"/>
              <a:gd name="connsiteX4" fmla="*/ 5359 w 10000"/>
              <a:gd name="connsiteY4" fmla="*/ 1396 h 9711"/>
              <a:gd name="connsiteX5" fmla="*/ 5035 w 10000"/>
              <a:gd name="connsiteY5" fmla="*/ 1253 h 9711"/>
              <a:gd name="connsiteX6" fmla="*/ 4888 w 10000"/>
              <a:gd name="connsiteY6" fmla="*/ 1192 h 9711"/>
              <a:gd name="connsiteX7" fmla="*/ 4822 w 10000"/>
              <a:gd name="connsiteY7" fmla="*/ 1170 h 9711"/>
              <a:gd name="connsiteX8" fmla="*/ 4785 w 10000"/>
              <a:gd name="connsiteY8" fmla="*/ 1155 h 9711"/>
              <a:gd name="connsiteX9" fmla="*/ 4730 w 10000"/>
              <a:gd name="connsiteY9" fmla="*/ 1132 h 9711"/>
              <a:gd name="connsiteX10" fmla="*/ 4138 w 10000"/>
              <a:gd name="connsiteY10" fmla="*/ 930 h 9711"/>
              <a:gd name="connsiteX11" fmla="*/ 3603 w 10000"/>
              <a:gd name="connsiteY11" fmla="*/ 771 h 9711"/>
              <a:gd name="connsiteX12" fmla="*/ 3178 w 10000"/>
              <a:gd name="connsiteY12" fmla="*/ 674 h 9711"/>
              <a:gd name="connsiteX13" fmla="*/ 3326 w 10000"/>
              <a:gd name="connsiteY13" fmla="*/ 0 h 9711"/>
              <a:gd name="connsiteX14" fmla="*/ 0 w 10000"/>
              <a:gd name="connsiteY14" fmla="*/ 975 h 9711"/>
              <a:gd name="connsiteX15" fmla="*/ 2697 w 10000"/>
              <a:gd name="connsiteY15" fmla="*/ 2821 h 9711"/>
              <a:gd name="connsiteX16" fmla="*/ 2864 w 10000"/>
              <a:gd name="connsiteY16" fmla="*/ 2078 h 9711"/>
              <a:gd name="connsiteX17" fmla="*/ 3132 w 10000"/>
              <a:gd name="connsiteY17" fmla="*/ 2123 h 9711"/>
              <a:gd name="connsiteX18" fmla="*/ 3594 w 10000"/>
              <a:gd name="connsiteY18" fmla="*/ 2219 h 9711"/>
              <a:gd name="connsiteX19" fmla="*/ 4120 w 10000"/>
              <a:gd name="connsiteY19" fmla="*/ 2354 h 9711"/>
              <a:gd name="connsiteX20" fmla="*/ 4129 w 10000"/>
              <a:gd name="connsiteY20" fmla="*/ 2354 h 9711"/>
              <a:gd name="connsiteX21" fmla="*/ 4138 w 10000"/>
              <a:gd name="connsiteY21" fmla="*/ 2361 h 9711"/>
              <a:gd name="connsiteX22" fmla="*/ 4129 w 10000"/>
              <a:gd name="connsiteY22" fmla="*/ 2354 h 9711"/>
              <a:gd name="connsiteX23" fmla="*/ 4138 w 10000"/>
              <a:gd name="connsiteY23" fmla="*/ 2354 h 9711"/>
              <a:gd name="connsiteX24" fmla="*/ 4176 w 10000"/>
              <a:gd name="connsiteY24" fmla="*/ 2369 h 9711"/>
              <a:gd name="connsiteX25" fmla="*/ 4250 w 10000"/>
              <a:gd name="connsiteY25" fmla="*/ 2392 h 9711"/>
              <a:gd name="connsiteX26" fmla="*/ 4407 w 10000"/>
              <a:gd name="connsiteY26" fmla="*/ 2437 h 9711"/>
              <a:gd name="connsiteX27" fmla="*/ 4693 w 10000"/>
              <a:gd name="connsiteY27" fmla="*/ 2536 h 9711"/>
              <a:gd name="connsiteX28" fmla="*/ 5904 w 10000"/>
              <a:gd name="connsiteY28" fmla="*/ 3043 h 9711"/>
              <a:gd name="connsiteX29" fmla="*/ 7123 w 10000"/>
              <a:gd name="connsiteY29" fmla="*/ 3794 h 9711"/>
              <a:gd name="connsiteX30" fmla="*/ 8203 w 10000"/>
              <a:gd name="connsiteY30" fmla="*/ 4799 h 9711"/>
              <a:gd name="connsiteX31" fmla="*/ 8962 w 10000"/>
              <a:gd name="connsiteY31" fmla="*/ 6023 h 9711"/>
              <a:gd name="connsiteX32" fmla="*/ 9211 w 10000"/>
              <a:gd name="connsiteY32" fmla="*/ 7371 h 9711"/>
              <a:gd name="connsiteX33" fmla="*/ 9100 w 10000"/>
              <a:gd name="connsiteY33" fmla="*/ 8039 h 9711"/>
              <a:gd name="connsiteX34" fmla="*/ 9054 w 10000"/>
              <a:gd name="connsiteY34" fmla="*/ 8197 h 9711"/>
              <a:gd name="connsiteX35" fmla="*/ 8989 w 10000"/>
              <a:gd name="connsiteY35" fmla="*/ 8355 h 9711"/>
              <a:gd name="connsiteX36" fmla="*/ 8971 w 10000"/>
              <a:gd name="connsiteY36" fmla="*/ 8399 h 9711"/>
              <a:gd name="connsiteX37" fmla="*/ 8971 w 10000"/>
              <a:gd name="connsiteY37" fmla="*/ 8407 h 9711"/>
              <a:gd name="connsiteX38" fmla="*/ 8971 w 10000"/>
              <a:gd name="connsiteY38" fmla="*/ 8413 h 9711"/>
              <a:gd name="connsiteX39" fmla="*/ 8971 w 10000"/>
              <a:gd name="connsiteY39" fmla="*/ 8407 h 9711"/>
              <a:gd name="connsiteX40" fmla="*/ 8962 w 10000"/>
              <a:gd name="connsiteY40" fmla="*/ 8427 h 9711"/>
              <a:gd name="connsiteX41" fmla="*/ 8915 w 10000"/>
              <a:gd name="connsiteY41" fmla="*/ 8512 h 9711"/>
              <a:gd name="connsiteX42" fmla="*/ 8841 w 10000"/>
              <a:gd name="connsiteY42" fmla="*/ 8668 h 9711"/>
              <a:gd name="connsiteX43" fmla="*/ 8665 w 10000"/>
              <a:gd name="connsiteY43" fmla="*/ 8953 h 9711"/>
              <a:gd name="connsiteX44" fmla="*/ 8454 w 10000"/>
              <a:gd name="connsiteY44" fmla="*/ 9232 h 9711"/>
              <a:gd name="connsiteX45" fmla="*/ 8223 w 10000"/>
              <a:gd name="connsiteY45" fmla="*/ 9487 h 9711"/>
              <a:gd name="connsiteX46" fmla="*/ 7963 w 10000"/>
              <a:gd name="connsiteY46" fmla="*/ 9711 h 9711"/>
              <a:gd name="connsiteX47" fmla="*/ 9367 w 10000"/>
              <a:gd name="connsiteY47" fmla="*/ 8872 h 9711"/>
              <a:gd name="connsiteX48" fmla="*/ 9470 w 10000"/>
              <a:gd name="connsiteY48" fmla="*/ 8714 h 9711"/>
              <a:gd name="connsiteX49" fmla="*/ 9516 w 10000"/>
              <a:gd name="connsiteY49" fmla="*/ 8638 h 9711"/>
              <a:gd name="connsiteX50" fmla="*/ 9534 w 10000"/>
              <a:gd name="connsiteY50" fmla="*/ 8616 h 9711"/>
              <a:gd name="connsiteX51" fmla="*/ 9552 w 10000"/>
              <a:gd name="connsiteY51" fmla="*/ 8586 h 9711"/>
              <a:gd name="connsiteX52" fmla="*/ 9571 w 10000"/>
              <a:gd name="connsiteY52" fmla="*/ 8540 h 9711"/>
              <a:gd name="connsiteX53" fmla="*/ 9664 w 10000"/>
              <a:gd name="connsiteY53" fmla="*/ 8369 h 9711"/>
              <a:gd name="connsiteX54" fmla="*/ 9737 w 10000"/>
              <a:gd name="connsiteY54" fmla="*/ 8182 h 9711"/>
              <a:gd name="connsiteX55" fmla="*/ 9959 w 10000"/>
              <a:gd name="connsiteY55" fmla="*/ 7423 h 9711"/>
              <a:gd name="connsiteX56" fmla="*/ 9848 w 10000"/>
              <a:gd name="connsiteY56" fmla="*/ 5826 h 9711"/>
              <a:gd name="connsiteX0" fmla="*/ 9848 w 10000"/>
              <a:gd name="connsiteY0" fmla="*/ 5999 h 9769"/>
              <a:gd name="connsiteX1" fmla="*/ 9136 w 10000"/>
              <a:gd name="connsiteY1" fmla="*/ 4464 h 9769"/>
              <a:gd name="connsiteX2" fmla="*/ 8028 w 10000"/>
              <a:gd name="connsiteY2" fmla="*/ 3175 h 9769"/>
              <a:gd name="connsiteX3" fmla="*/ 6716 w 10000"/>
              <a:gd name="connsiteY3" fmla="*/ 2164 h 9769"/>
              <a:gd name="connsiteX4" fmla="*/ 5359 w 10000"/>
              <a:gd name="connsiteY4" fmla="*/ 1438 h 9769"/>
              <a:gd name="connsiteX5" fmla="*/ 5035 w 10000"/>
              <a:gd name="connsiteY5" fmla="*/ 1290 h 9769"/>
              <a:gd name="connsiteX6" fmla="*/ 4888 w 10000"/>
              <a:gd name="connsiteY6" fmla="*/ 1227 h 9769"/>
              <a:gd name="connsiteX7" fmla="*/ 4822 w 10000"/>
              <a:gd name="connsiteY7" fmla="*/ 1205 h 9769"/>
              <a:gd name="connsiteX8" fmla="*/ 4785 w 10000"/>
              <a:gd name="connsiteY8" fmla="*/ 1189 h 9769"/>
              <a:gd name="connsiteX9" fmla="*/ 4730 w 10000"/>
              <a:gd name="connsiteY9" fmla="*/ 1166 h 9769"/>
              <a:gd name="connsiteX10" fmla="*/ 4138 w 10000"/>
              <a:gd name="connsiteY10" fmla="*/ 958 h 9769"/>
              <a:gd name="connsiteX11" fmla="*/ 3603 w 10000"/>
              <a:gd name="connsiteY11" fmla="*/ 794 h 9769"/>
              <a:gd name="connsiteX12" fmla="*/ 3178 w 10000"/>
              <a:gd name="connsiteY12" fmla="*/ 694 h 9769"/>
              <a:gd name="connsiteX13" fmla="*/ 3326 w 10000"/>
              <a:gd name="connsiteY13" fmla="*/ 0 h 9769"/>
              <a:gd name="connsiteX14" fmla="*/ 0 w 10000"/>
              <a:gd name="connsiteY14" fmla="*/ 1004 h 9769"/>
              <a:gd name="connsiteX15" fmla="*/ 2697 w 10000"/>
              <a:gd name="connsiteY15" fmla="*/ 2905 h 9769"/>
              <a:gd name="connsiteX16" fmla="*/ 2864 w 10000"/>
              <a:gd name="connsiteY16" fmla="*/ 2140 h 9769"/>
              <a:gd name="connsiteX17" fmla="*/ 3132 w 10000"/>
              <a:gd name="connsiteY17" fmla="*/ 2186 h 9769"/>
              <a:gd name="connsiteX18" fmla="*/ 3594 w 10000"/>
              <a:gd name="connsiteY18" fmla="*/ 2285 h 9769"/>
              <a:gd name="connsiteX19" fmla="*/ 4120 w 10000"/>
              <a:gd name="connsiteY19" fmla="*/ 2424 h 9769"/>
              <a:gd name="connsiteX20" fmla="*/ 4129 w 10000"/>
              <a:gd name="connsiteY20" fmla="*/ 2424 h 9769"/>
              <a:gd name="connsiteX21" fmla="*/ 4138 w 10000"/>
              <a:gd name="connsiteY21" fmla="*/ 2431 h 9769"/>
              <a:gd name="connsiteX22" fmla="*/ 4129 w 10000"/>
              <a:gd name="connsiteY22" fmla="*/ 2424 h 9769"/>
              <a:gd name="connsiteX23" fmla="*/ 4138 w 10000"/>
              <a:gd name="connsiteY23" fmla="*/ 2424 h 9769"/>
              <a:gd name="connsiteX24" fmla="*/ 4176 w 10000"/>
              <a:gd name="connsiteY24" fmla="*/ 2440 h 9769"/>
              <a:gd name="connsiteX25" fmla="*/ 4250 w 10000"/>
              <a:gd name="connsiteY25" fmla="*/ 2463 h 9769"/>
              <a:gd name="connsiteX26" fmla="*/ 4407 w 10000"/>
              <a:gd name="connsiteY26" fmla="*/ 2510 h 9769"/>
              <a:gd name="connsiteX27" fmla="*/ 4693 w 10000"/>
              <a:gd name="connsiteY27" fmla="*/ 2611 h 9769"/>
              <a:gd name="connsiteX28" fmla="*/ 5904 w 10000"/>
              <a:gd name="connsiteY28" fmla="*/ 3134 h 9769"/>
              <a:gd name="connsiteX29" fmla="*/ 7123 w 10000"/>
              <a:gd name="connsiteY29" fmla="*/ 3907 h 9769"/>
              <a:gd name="connsiteX30" fmla="*/ 8203 w 10000"/>
              <a:gd name="connsiteY30" fmla="*/ 4942 h 9769"/>
              <a:gd name="connsiteX31" fmla="*/ 8962 w 10000"/>
              <a:gd name="connsiteY31" fmla="*/ 6202 h 9769"/>
              <a:gd name="connsiteX32" fmla="*/ 9211 w 10000"/>
              <a:gd name="connsiteY32" fmla="*/ 7590 h 9769"/>
              <a:gd name="connsiteX33" fmla="*/ 9100 w 10000"/>
              <a:gd name="connsiteY33" fmla="*/ 8278 h 9769"/>
              <a:gd name="connsiteX34" fmla="*/ 9054 w 10000"/>
              <a:gd name="connsiteY34" fmla="*/ 8441 h 9769"/>
              <a:gd name="connsiteX35" fmla="*/ 8989 w 10000"/>
              <a:gd name="connsiteY35" fmla="*/ 8604 h 9769"/>
              <a:gd name="connsiteX36" fmla="*/ 8971 w 10000"/>
              <a:gd name="connsiteY36" fmla="*/ 8649 h 9769"/>
              <a:gd name="connsiteX37" fmla="*/ 8971 w 10000"/>
              <a:gd name="connsiteY37" fmla="*/ 8657 h 9769"/>
              <a:gd name="connsiteX38" fmla="*/ 8971 w 10000"/>
              <a:gd name="connsiteY38" fmla="*/ 8663 h 9769"/>
              <a:gd name="connsiteX39" fmla="*/ 8971 w 10000"/>
              <a:gd name="connsiteY39" fmla="*/ 8657 h 9769"/>
              <a:gd name="connsiteX40" fmla="*/ 8962 w 10000"/>
              <a:gd name="connsiteY40" fmla="*/ 8678 h 9769"/>
              <a:gd name="connsiteX41" fmla="*/ 8915 w 10000"/>
              <a:gd name="connsiteY41" fmla="*/ 8765 h 9769"/>
              <a:gd name="connsiteX42" fmla="*/ 8841 w 10000"/>
              <a:gd name="connsiteY42" fmla="*/ 8926 h 9769"/>
              <a:gd name="connsiteX43" fmla="*/ 8665 w 10000"/>
              <a:gd name="connsiteY43" fmla="*/ 9219 h 9769"/>
              <a:gd name="connsiteX44" fmla="*/ 8454 w 10000"/>
              <a:gd name="connsiteY44" fmla="*/ 9507 h 9769"/>
              <a:gd name="connsiteX45" fmla="*/ 8223 w 10000"/>
              <a:gd name="connsiteY45" fmla="*/ 9769 h 9769"/>
              <a:gd name="connsiteX46" fmla="*/ 9367 w 10000"/>
              <a:gd name="connsiteY46" fmla="*/ 9136 h 9769"/>
              <a:gd name="connsiteX47" fmla="*/ 9470 w 10000"/>
              <a:gd name="connsiteY47" fmla="*/ 8973 h 9769"/>
              <a:gd name="connsiteX48" fmla="*/ 9516 w 10000"/>
              <a:gd name="connsiteY48" fmla="*/ 8895 h 9769"/>
              <a:gd name="connsiteX49" fmla="*/ 9534 w 10000"/>
              <a:gd name="connsiteY49" fmla="*/ 8872 h 9769"/>
              <a:gd name="connsiteX50" fmla="*/ 9552 w 10000"/>
              <a:gd name="connsiteY50" fmla="*/ 8842 h 9769"/>
              <a:gd name="connsiteX51" fmla="*/ 9571 w 10000"/>
              <a:gd name="connsiteY51" fmla="*/ 8794 h 9769"/>
              <a:gd name="connsiteX52" fmla="*/ 9664 w 10000"/>
              <a:gd name="connsiteY52" fmla="*/ 8618 h 9769"/>
              <a:gd name="connsiteX53" fmla="*/ 9737 w 10000"/>
              <a:gd name="connsiteY53" fmla="*/ 8425 h 9769"/>
              <a:gd name="connsiteX54" fmla="*/ 9959 w 10000"/>
              <a:gd name="connsiteY54" fmla="*/ 7644 h 9769"/>
              <a:gd name="connsiteX55" fmla="*/ 9848 w 10000"/>
              <a:gd name="connsiteY55" fmla="*/ 5999 h 9769"/>
              <a:gd name="connsiteX0" fmla="*/ 9848 w 10000"/>
              <a:gd name="connsiteY0" fmla="*/ 6141 h 9732"/>
              <a:gd name="connsiteX1" fmla="*/ 9136 w 10000"/>
              <a:gd name="connsiteY1" fmla="*/ 4570 h 9732"/>
              <a:gd name="connsiteX2" fmla="*/ 8028 w 10000"/>
              <a:gd name="connsiteY2" fmla="*/ 3250 h 9732"/>
              <a:gd name="connsiteX3" fmla="*/ 6716 w 10000"/>
              <a:gd name="connsiteY3" fmla="*/ 2215 h 9732"/>
              <a:gd name="connsiteX4" fmla="*/ 5359 w 10000"/>
              <a:gd name="connsiteY4" fmla="*/ 1472 h 9732"/>
              <a:gd name="connsiteX5" fmla="*/ 5035 w 10000"/>
              <a:gd name="connsiteY5" fmla="*/ 1321 h 9732"/>
              <a:gd name="connsiteX6" fmla="*/ 4888 w 10000"/>
              <a:gd name="connsiteY6" fmla="*/ 1256 h 9732"/>
              <a:gd name="connsiteX7" fmla="*/ 4822 w 10000"/>
              <a:gd name="connsiteY7" fmla="*/ 1233 h 9732"/>
              <a:gd name="connsiteX8" fmla="*/ 4785 w 10000"/>
              <a:gd name="connsiteY8" fmla="*/ 1217 h 9732"/>
              <a:gd name="connsiteX9" fmla="*/ 4730 w 10000"/>
              <a:gd name="connsiteY9" fmla="*/ 1194 h 9732"/>
              <a:gd name="connsiteX10" fmla="*/ 4138 w 10000"/>
              <a:gd name="connsiteY10" fmla="*/ 981 h 9732"/>
              <a:gd name="connsiteX11" fmla="*/ 3603 w 10000"/>
              <a:gd name="connsiteY11" fmla="*/ 813 h 9732"/>
              <a:gd name="connsiteX12" fmla="*/ 3178 w 10000"/>
              <a:gd name="connsiteY12" fmla="*/ 710 h 9732"/>
              <a:gd name="connsiteX13" fmla="*/ 3326 w 10000"/>
              <a:gd name="connsiteY13" fmla="*/ 0 h 9732"/>
              <a:gd name="connsiteX14" fmla="*/ 0 w 10000"/>
              <a:gd name="connsiteY14" fmla="*/ 1028 h 9732"/>
              <a:gd name="connsiteX15" fmla="*/ 2697 w 10000"/>
              <a:gd name="connsiteY15" fmla="*/ 2974 h 9732"/>
              <a:gd name="connsiteX16" fmla="*/ 2864 w 10000"/>
              <a:gd name="connsiteY16" fmla="*/ 2191 h 9732"/>
              <a:gd name="connsiteX17" fmla="*/ 3132 w 10000"/>
              <a:gd name="connsiteY17" fmla="*/ 2238 h 9732"/>
              <a:gd name="connsiteX18" fmla="*/ 3594 w 10000"/>
              <a:gd name="connsiteY18" fmla="*/ 2339 h 9732"/>
              <a:gd name="connsiteX19" fmla="*/ 4120 w 10000"/>
              <a:gd name="connsiteY19" fmla="*/ 2481 h 9732"/>
              <a:gd name="connsiteX20" fmla="*/ 4129 w 10000"/>
              <a:gd name="connsiteY20" fmla="*/ 2481 h 9732"/>
              <a:gd name="connsiteX21" fmla="*/ 4138 w 10000"/>
              <a:gd name="connsiteY21" fmla="*/ 2488 h 9732"/>
              <a:gd name="connsiteX22" fmla="*/ 4129 w 10000"/>
              <a:gd name="connsiteY22" fmla="*/ 2481 h 9732"/>
              <a:gd name="connsiteX23" fmla="*/ 4138 w 10000"/>
              <a:gd name="connsiteY23" fmla="*/ 2481 h 9732"/>
              <a:gd name="connsiteX24" fmla="*/ 4176 w 10000"/>
              <a:gd name="connsiteY24" fmla="*/ 2498 h 9732"/>
              <a:gd name="connsiteX25" fmla="*/ 4250 w 10000"/>
              <a:gd name="connsiteY25" fmla="*/ 2521 h 9732"/>
              <a:gd name="connsiteX26" fmla="*/ 4407 w 10000"/>
              <a:gd name="connsiteY26" fmla="*/ 2569 h 9732"/>
              <a:gd name="connsiteX27" fmla="*/ 4693 w 10000"/>
              <a:gd name="connsiteY27" fmla="*/ 2673 h 9732"/>
              <a:gd name="connsiteX28" fmla="*/ 5904 w 10000"/>
              <a:gd name="connsiteY28" fmla="*/ 3208 h 9732"/>
              <a:gd name="connsiteX29" fmla="*/ 7123 w 10000"/>
              <a:gd name="connsiteY29" fmla="*/ 3999 h 9732"/>
              <a:gd name="connsiteX30" fmla="*/ 8203 w 10000"/>
              <a:gd name="connsiteY30" fmla="*/ 5059 h 9732"/>
              <a:gd name="connsiteX31" fmla="*/ 8962 w 10000"/>
              <a:gd name="connsiteY31" fmla="*/ 6349 h 9732"/>
              <a:gd name="connsiteX32" fmla="*/ 9211 w 10000"/>
              <a:gd name="connsiteY32" fmla="*/ 7769 h 9732"/>
              <a:gd name="connsiteX33" fmla="*/ 9100 w 10000"/>
              <a:gd name="connsiteY33" fmla="*/ 8474 h 9732"/>
              <a:gd name="connsiteX34" fmla="*/ 9054 w 10000"/>
              <a:gd name="connsiteY34" fmla="*/ 8641 h 9732"/>
              <a:gd name="connsiteX35" fmla="*/ 8989 w 10000"/>
              <a:gd name="connsiteY35" fmla="*/ 8807 h 9732"/>
              <a:gd name="connsiteX36" fmla="*/ 8971 w 10000"/>
              <a:gd name="connsiteY36" fmla="*/ 8854 h 9732"/>
              <a:gd name="connsiteX37" fmla="*/ 8971 w 10000"/>
              <a:gd name="connsiteY37" fmla="*/ 8862 h 9732"/>
              <a:gd name="connsiteX38" fmla="*/ 8971 w 10000"/>
              <a:gd name="connsiteY38" fmla="*/ 8868 h 9732"/>
              <a:gd name="connsiteX39" fmla="*/ 8971 w 10000"/>
              <a:gd name="connsiteY39" fmla="*/ 8862 h 9732"/>
              <a:gd name="connsiteX40" fmla="*/ 8962 w 10000"/>
              <a:gd name="connsiteY40" fmla="*/ 8883 h 9732"/>
              <a:gd name="connsiteX41" fmla="*/ 8915 w 10000"/>
              <a:gd name="connsiteY41" fmla="*/ 8972 h 9732"/>
              <a:gd name="connsiteX42" fmla="*/ 8841 w 10000"/>
              <a:gd name="connsiteY42" fmla="*/ 9137 h 9732"/>
              <a:gd name="connsiteX43" fmla="*/ 8665 w 10000"/>
              <a:gd name="connsiteY43" fmla="*/ 9437 h 9732"/>
              <a:gd name="connsiteX44" fmla="*/ 8454 w 10000"/>
              <a:gd name="connsiteY44" fmla="*/ 9732 h 9732"/>
              <a:gd name="connsiteX45" fmla="*/ 9367 w 10000"/>
              <a:gd name="connsiteY45" fmla="*/ 9352 h 9732"/>
              <a:gd name="connsiteX46" fmla="*/ 9470 w 10000"/>
              <a:gd name="connsiteY46" fmla="*/ 9185 h 9732"/>
              <a:gd name="connsiteX47" fmla="*/ 9516 w 10000"/>
              <a:gd name="connsiteY47" fmla="*/ 9105 h 9732"/>
              <a:gd name="connsiteX48" fmla="*/ 9534 w 10000"/>
              <a:gd name="connsiteY48" fmla="*/ 9082 h 9732"/>
              <a:gd name="connsiteX49" fmla="*/ 9552 w 10000"/>
              <a:gd name="connsiteY49" fmla="*/ 9051 h 9732"/>
              <a:gd name="connsiteX50" fmla="*/ 9571 w 10000"/>
              <a:gd name="connsiteY50" fmla="*/ 9002 h 9732"/>
              <a:gd name="connsiteX51" fmla="*/ 9664 w 10000"/>
              <a:gd name="connsiteY51" fmla="*/ 8822 h 9732"/>
              <a:gd name="connsiteX52" fmla="*/ 9737 w 10000"/>
              <a:gd name="connsiteY52" fmla="*/ 8624 h 9732"/>
              <a:gd name="connsiteX53" fmla="*/ 9959 w 10000"/>
              <a:gd name="connsiteY53" fmla="*/ 7825 h 9732"/>
              <a:gd name="connsiteX54" fmla="*/ 9848 w 10000"/>
              <a:gd name="connsiteY54" fmla="*/ 6141 h 9732"/>
              <a:gd name="connsiteX0" fmla="*/ 9848 w 10000"/>
              <a:gd name="connsiteY0" fmla="*/ 6310 h 9706"/>
              <a:gd name="connsiteX1" fmla="*/ 9136 w 10000"/>
              <a:gd name="connsiteY1" fmla="*/ 4696 h 9706"/>
              <a:gd name="connsiteX2" fmla="*/ 8028 w 10000"/>
              <a:gd name="connsiteY2" fmla="*/ 3339 h 9706"/>
              <a:gd name="connsiteX3" fmla="*/ 6716 w 10000"/>
              <a:gd name="connsiteY3" fmla="*/ 2276 h 9706"/>
              <a:gd name="connsiteX4" fmla="*/ 5359 w 10000"/>
              <a:gd name="connsiteY4" fmla="*/ 1513 h 9706"/>
              <a:gd name="connsiteX5" fmla="*/ 5035 w 10000"/>
              <a:gd name="connsiteY5" fmla="*/ 1357 h 9706"/>
              <a:gd name="connsiteX6" fmla="*/ 4888 w 10000"/>
              <a:gd name="connsiteY6" fmla="*/ 1291 h 9706"/>
              <a:gd name="connsiteX7" fmla="*/ 4822 w 10000"/>
              <a:gd name="connsiteY7" fmla="*/ 1267 h 9706"/>
              <a:gd name="connsiteX8" fmla="*/ 4785 w 10000"/>
              <a:gd name="connsiteY8" fmla="*/ 1251 h 9706"/>
              <a:gd name="connsiteX9" fmla="*/ 4730 w 10000"/>
              <a:gd name="connsiteY9" fmla="*/ 1227 h 9706"/>
              <a:gd name="connsiteX10" fmla="*/ 4138 w 10000"/>
              <a:gd name="connsiteY10" fmla="*/ 1008 h 9706"/>
              <a:gd name="connsiteX11" fmla="*/ 3603 w 10000"/>
              <a:gd name="connsiteY11" fmla="*/ 835 h 9706"/>
              <a:gd name="connsiteX12" fmla="*/ 3178 w 10000"/>
              <a:gd name="connsiteY12" fmla="*/ 730 h 9706"/>
              <a:gd name="connsiteX13" fmla="*/ 3326 w 10000"/>
              <a:gd name="connsiteY13" fmla="*/ 0 h 9706"/>
              <a:gd name="connsiteX14" fmla="*/ 0 w 10000"/>
              <a:gd name="connsiteY14" fmla="*/ 1056 h 9706"/>
              <a:gd name="connsiteX15" fmla="*/ 2697 w 10000"/>
              <a:gd name="connsiteY15" fmla="*/ 3056 h 9706"/>
              <a:gd name="connsiteX16" fmla="*/ 2864 w 10000"/>
              <a:gd name="connsiteY16" fmla="*/ 2251 h 9706"/>
              <a:gd name="connsiteX17" fmla="*/ 3132 w 10000"/>
              <a:gd name="connsiteY17" fmla="*/ 2300 h 9706"/>
              <a:gd name="connsiteX18" fmla="*/ 3594 w 10000"/>
              <a:gd name="connsiteY18" fmla="*/ 2403 h 9706"/>
              <a:gd name="connsiteX19" fmla="*/ 4120 w 10000"/>
              <a:gd name="connsiteY19" fmla="*/ 2549 h 9706"/>
              <a:gd name="connsiteX20" fmla="*/ 4129 w 10000"/>
              <a:gd name="connsiteY20" fmla="*/ 2549 h 9706"/>
              <a:gd name="connsiteX21" fmla="*/ 4138 w 10000"/>
              <a:gd name="connsiteY21" fmla="*/ 2557 h 9706"/>
              <a:gd name="connsiteX22" fmla="*/ 4129 w 10000"/>
              <a:gd name="connsiteY22" fmla="*/ 2549 h 9706"/>
              <a:gd name="connsiteX23" fmla="*/ 4138 w 10000"/>
              <a:gd name="connsiteY23" fmla="*/ 2549 h 9706"/>
              <a:gd name="connsiteX24" fmla="*/ 4176 w 10000"/>
              <a:gd name="connsiteY24" fmla="*/ 2567 h 9706"/>
              <a:gd name="connsiteX25" fmla="*/ 4250 w 10000"/>
              <a:gd name="connsiteY25" fmla="*/ 2590 h 9706"/>
              <a:gd name="connsiteX26" fmla="*/ 4407 w 10000"/>
              <a:gd name="connsiteY26" fmla="*/ 2640 h 9706"/>
              <a:gd name="connsiteX27" fmla="*/ 4693 w 10000"/>
              <a:gd name="connsiteY27" fmla="*/ 2747 h 9706"/>
              <a:gd name="connsiteX28" fmla="*/ 5904 w 10000"/>
              <a:gd name="connsiteY28" fmla="*/ 3296 h 9706"/>
              <a:gd name="connsiteX29" fmla="*/ 7123 w 10000"/>
              <a:gd name="connsiteY29" fmla="*/ 4109 h 9706"/>
              <a:gd name="connsiteX30" fmla="*/ 8203 w 10000"/>
              <a:gd name="connsiteY30" fmla="*/ 5198 h 9706"/>
              <a:gd name="connsiteX31" fmla="*/ 8962 w 10000"/>
              <a:gd name="connsiteY31" fmla="*/ 6524 h 9706"/>
              <a:gd name="connsiteX32" fmla="*/ 9211 w 10000"/>
              <a:gd name="connsiteY32" fmla="*/ 7983 h 9706"/>
              <a:gd name="connsiteX33" fmla="*/ 9100 w 10000"/>
              <a:gd name="connsiteY33" fmla="*/ 8707 h 9706"/>
              <a:gd name="connsiteX34" fmla="*/ 9054 w 10000"/>
              <a:gd name="connsiteY34" fmla="*/ 8879 h 9706"/>
              <a:gd name="connsiteX35" fmla="*/ 8989 w 10000"/>
              <a:gd name="connsiteY35" fmla="*/ 9050 h 9706"/>
              <a:gd name="connsiteX36" fmla="*/ 8971 w 10000"/>
              <a:gd name="connsiteY36" fmla="*/ 9098 h 9706"/>
              <a:gd name="connsiteX37" fmla="*/ 8971 w 10000"/>
              <a:gd name="connsiteY37" fmla="*/ 9106 h 9706"/>
              <a:gd name="connsiteX38" fmla="*/ 8971 w 10000"/>
              <a:gd name="connsiteY38" fmla="*/ 9112 h 9706"/>
              <a:gd name="connsiteX39" fmla="*/ 8971 w 10000"/>
              <a:gd name="connsiteY39" fmla="*/ 9106 h 9706"/>
              <a:gd name="connsiteX40" fmla="*/ 8962 w 10000"/>
              <a:gd name="connsiteY40" fmla="*/ 9128 h 9706"/>
              <a:gd name="connsiteX41" fmla="*/ 8915 w 10000"/>
              <a:gd name="connsiteY41" fmla="*/ 9219 h 9706"/>
              <a:gd name="connsiteX42" fmla="*/ 8841 w 10000"/>
              <a:gd name="connsiteY42" fmla="*/ 9389 h 9706"/>
              <a:gd name="connsiteX43" fmla="*/ 8665 w 10000"/>
              <a:gd name="connsiteY43" fmla="*/ 9697 h 9706"/>
              <a:gd name="connsiteX44" fmla="*/ 9367 w 10000"/>
              <a:gd name="connsiteY44" fmla="*/ 9610 h 9706"/>
              <a:gd name="connsiteX45" fmla="*/ 9470 w 10000"/>
              <a:gd name="connsiteY45" fmla="*/ 9438 h 9706"/>
              <a:gd name="connsiteX46" fmla="*/ 9516 w 10000"/>
              <a:gd name="connsiteY46" fmla="*/ 9356 h 9706"/>
              <a:gd name="connsiteX47" fmla="*/ 9534 w 10000"/>
              <a:gd name="connsiteY47" fmla="*/ 9332 h 9706"/>
              <a:gd name="connsiteX48" fmla="*/ 9552 w 10000"/>
              <a:gd name="connsiteY48" fmla="*/ 9300 h 9706"/>
              <a:gd name="connsiteX49" fmla="*/ 9571 w 10000"/>
              <a:gd name="connsiteY49" fmla="*/ 9250 h 9706"/>
              <a:gd name="connsiteX50" fmla="*/ 9664 w 10000"/>
              <a:gd name="connsiteY50" fmla="*/ 9065 h 9706"/>
              <a:gd name="connsiteX51" fmla="*/ 9737 w 10000"/>
              <a:gd name="connsiteY51" fmla="*/ 8861 h 9706"/>
              <a:gd name="connsiteX52" fmla="*/ 9959 w 10000"/>
              <a:gd name="connsiteY52" fmla="*/ 8040 h 9706"/>
              <a:gd name="connsiteX53" fmla="*/ 9848 w 10000"/>
              <a:gd name="connsiteY53" fmla="*/ 6310 h 9706"/>
              <a:gd name="connsiteX0" fmla="*/ 9848 w 10000"/>
              <a:gd name="connsiteY0" fmla="*/ 6501 h 9901"/>
              <a:gd name="connsiteX1" fmla="*/ 9136 w 10000"/>
              <a:gd name="connsiteY1" fmla="*/ 4838 h 9901"/>
              <a:gd name="connsiteX2" fmla="*/ 8028 w 10000"/>
              <a:gd name="connsiteY2" fmla="*/ 3440 h 9901"/>
              <a:gd name="connsiteX3" fmla="*/ 6716 w 10000"/>
              <a:gd name="connsiteY3" fmla="*/ 2345 h 9901"/>
              <a:gd name="connsiteX4" fmla="*/ 5359 w 10000"/>
              <a:gd name="connsiteY4" fmla="*/ 1559 h 9901"/>
              <a:gd name="connsiteX5" fmla="*/ 5035 w 10000"/>
              <a:gd name="connsiteY5" fmla="*/ 1398 h 9901"/>
              <a:gd name="connsiteX6" fmla="*/ 4888 w 10000"/>
              <a:gd name="connsiteY6" fmla="*/ 1330 h 9901"/>
              <a:gd name="connsiteX7" fmla="*/ 4822 w 10000"/>
              <a:gd name="connsiteY7" fmla="*/ 1305 h 9901"/>
              <a:gd name="connsiteX8" fmla="*/ 4785 w 10000"/>
              <a:gd name="connsiteY8" fmla="*/ 1289 h 9901"/>
              <a:gd name="connsiteX9" fmla="*/ 4730 w 10000"/>
              <a:gd name="connsiteY9" fmla="*/ 1264 h 9901"/>
              <a:gd name="connsiteX10" fmla="*/ 4138 w 10000"/>
              <a:gd name="connsiteY10" fmla="*/ 1039 h 9901"/>
              <a:gd name="connsiteX11" fmla="*/ 3603 w 10000"/>
              <a:gd name="connsiteY11" fmla="*/ 860 h 9901"/>
              <a:gd name="connsiteX12" fmla="*/ 3178 w 10000"/>
              <a:gd name="connsiteY12" fmla="*/ 752 h 9901"/>
              <a:gd name="connsiteX13" fmla="*/ 3326 w 10000"/>
              <a:gd name="connsiteY13" fmla="*/ 0 h 9901"/>
              <a:gd name="connsiteX14" fmla="*/ 0 w 10000"/>
              <a:gd name="connsiteY14" fmla="*/ 1088 h 9901"/>
              <a:gd name="connsiteX15" fmla="*/ 2697 w 10000"/>
              <a:gd name="connsiteY15" fmla="*/ 3149 h 9901"/>
              <a:gd name="connsiteX16" fmla="*/ 2864 w 10000"/>
              <a:gd name="connsiteY16" fmla="*/ 2319 h 9901"/>
              <a:gd name="connsiteX17" fmla="*/ 3132 w 10000"/>
              <a:gd name="connsiteY17" fmla="*/ 2370 h 9901"/>
              <a:gd name="connsiteX18" fmla="*/ 3594 w 10000"/>
              <a:gd name="connsiteY18" fmla="*/ 2476 h 9901"/>
              <a:gd name="connsiteX19" fmla="*/ 4120 w 10000"/>
              <a:gd name="connsiteY19" fmla="*/ 2626 h 9901"/>
              <a:gd name="connsiteX20" fmla="*/ 4129 w 10000"/>
              <a:gd name="connsiteY20" fmla="*/ 2626 h 9901"/>
              <a:gd name="connsiteX21" fmla="*/ 4138 w 10000"/>
              <a:gd name="connsiteY21" fmla="*/ 2634 h 9901"/>
              <a:gd name="connsiteX22" fmla="*/ 4129 w 10000"/>
              <a:gd name="connsiteY22" fmla="*/ 2626 h 9901"/>
              <a:gd name="connsiteX23" fmla="*/ 4138 w 10000"/>
              <a:gd name="connsiteY23" fmla="*/ 2626 h 9901"/>
              <a:gd name="connsiteX24" fmla="*/ 4176 w 10000"/>
              <a:gd name="connsiteY24" fmla="*/ 2645 h 9901"/>
              <a:gd name="connsiteX25" fmla="*/ 4250 w 10000"/>
              <a:gd name="connsiteY25" fmla="*/ 2668 h 9901"/>
              <a:gd name="connsiteX26" fmla="*/ 4407 w 10000"/>
              <a:gd name="connsiteY26" fmla="*/ 2720 h 9901"/>
              <a:gd name="connsiteX27" fmla="*/ 4693 w 10000"/>
              <a:gd name="connsiteY27" fmla="*/ 2830 h 9901"/>
              <a:gd name="connsiteX28" fmla="*/ 5904 w 10000"/>
              <a:gd name="connsiteY28" fmla="*/ 3396 h 9901"/>
              <a:gd name="connsiteX29" fmla="*/ 7123 w 10000"/>
              <a:gd name="connsiteY29" fmla="*/ 4233 h 9901"/>
              <a:gd name="connsiteX30" fmla="*/ 8203 w 10000"/>
              <a:gd name="connsiteY30" fmla="*/ 5355 h 9901"/>
              <a:gd name="connsiteX31" fmla="*/ 8962 w 10000"/>
              <a:gd name="connsiteY31" fmla="*/ 6722 h 9901"/>
              <a:gd name="connsiteX32" fmla="*/ 9211 w 10000"/>
              <a:gd name="connsiteY32" fmla="*/ 8225 h 9901"/>
              <a:gd name="connsiteX33" fmla="*/ 9100 w 10000"/>
              <a:gd name="connsiteY33" fmla="*/ 8971 h 9901"/>
              <a:gd name="connsiteX34" fmla="*/ 9054 w 10000"/>
              <a:gd name="connsiteY34" fmla="*/ 9148 h 9901"/>
              <a:gd name="connsiteX35" fmla="*/ 8989 w 10000"/>
              <a:gd name="connsiteY35" fmla="*/ 9324 h 9901"/>
              <a:gd name="connsiteX36" fmla="*/ 8971 w 10000"/>
              <a:gd name="connsiteY36" fmla="*/ 9374 h 9901"/>
              <a:gd name="connsiteX37" fmla="*/ 8971 w 10000"/>
              <a:gd name="connsiteY37" fmla="*/ 9382 h 9901"/>
              <a:gd name="connsiteX38" fmla="*/ 8971 w 10000"/>
              <a:gd name="connsiteY38" fmla="*/ 9388 h 9901"/>
              <a:gd name="connsiteX39" fmla="*/ 8971 w 10000"/>
              <a:gd name="connsiteY39" fmla="*/ 9382 h 9901"/>
              <a:gd name="connsiteX40" fmla="*/ 8962 w 10000"/>
              <a:gd name="connsiteY40" fmla="*/ 9404 h 9901"/>
              <a:gd name="connsiteX41" fmla="*/ 8915 w 10000"/>
              <a:gd name="connsiteY41" fmla="*/ 9498 h 9901"/>
              <a:gd name="connsiteX42" fmla="*/ 8841 w 10000"/>
              <a:gd name="connsiteY42" fmla="*/ 9673 h 9901"/>
              <a:gd name="connsiteX43" fmla="*/ 9367 w 10000"/>
              <a:gd name="connsiteY43" fmla="*/ 9901 h 9901"/>
              <a:gd name="connsiteX44" fmla="*/ 9470 w 10000"/>
              <a:gd name="connsiteY44" fmla="*/ 9724 h 9901"/>
              <a:gd name="connsiteX45" fmla="*/ 9516 w 10000"/>
              <a:gd name="connsiteY45" fmla="*/ 9639 h 9901"/>
              <a:gd name="connsiteX46" fmla="*/ 9534 w 10000"/>
              <a:gd name="connsiteY46" fmla="*/ 9615 h 9901"/>
              <a:gd name="connsiteX47" fmla="*/ 9552 w 10000"/>
              <a:gd name="connsiteY47" fmla="*/ 9582 h 9901"/>
              <a:gd name="connsiteX48" fmla="*/ 9571 w 10000"/>
              <a:gd name="connsiteY48" fmla="*/ 9530 h 9901"/>
              <a:gd name="connsiteX49" fmla="*/ 9664 w 10000"/>
              <a:gd name="connsiteY49" fmla="*/ 9340 h 9901"/>
              <a:gd name="connsiteX50" fmla="*/ 9737 w 10000"/>
              <a:gd name="connsiteY50" fmla="*/ 9129 h 9901"/>
              <a:gd name="connsiteX51" fmla="*/ 9959 w 10000"/>
              <a:gd name="connsiteY51" fmla="*/ 8284 h 9901"/>
              <a:gd name="connsiteX52" fmla="*/ 9848 w 10000"/>
              <a:gd name="connsiteY52" fmla="*/ 6501 h 9901"/>
              <a:gd name="connsiteX0" fmla="*/ 9848 w 10000"/>
              <a:gd name="connsiteY0" fmla="*/ 6566 h 10000"/>
              <a:gd name="connsiteX1" fmla="*/ 9136 w 10000"/>
              <a:gd name="connsiteY1" fmla="*/ 4886 h 10000"/>
              <a:gd name="connsiteX2" fmla="*/ 8028 w 10000"/>
              <a:gd name="connsiteY2" fmla="*/ 3474 h 10000"/>
              <a:gd name="connsiteX3" fmla="*/ 6716 w 10000"/>
              <a:gd name="connsiteY3" fmla="*/ 2368 h 10000"/>
              <a:gd name="connsiteX4" fmla="*/ 5359 w 10000"/>
              <a:gd name="connsiteY4" fmla="*/ 1575 h 10000"/>
              <a:gd name="connsiteX5" fmla="*/ 5035 w 10000"/>
              <a:gd name="connsiteY5" fmla="*/ 1412 h 10000"/>
              <a:gd name="connsiteX6" fmla="*/ 4888 w 10000"/>
              <a:gd name="connsiteY6" fmla="*/ 1343 h 10000"/>
              <a:gd name="connsiteX7" fmla="*/ 4822 w 10000"/>
              <a:gd name="connsiteY7" fmla="*/ 1318 h 10000"/>
              <a:gd name="connsiteX8" fmla="*/ 4785 w 10000"/>
              <a:gd name="connsiteY8" fmla="*/ 1302 h 10000"/>
              <a:gd name="connsiteX9" fmla="*/ 4730 w 10000"/>
              <a:gd name="connsiteY9" fmla="*/ 1277 h 10000"/>
              <a:gd name="connsiteX10" fmla="*/ 4138 w 10000"/>
              <a:gd name="connsiteY10" fmla="*/ 1049 h 10000"/>
              <a:gd name="connsiteX11" fmla="*/ 3603 w 10000"/>
              <a:gd name="connsiteY11" fmla="*/ 869 h 10000"/>
              <a:gd name="connsiteX12" fmla="*/ 3178 w 10000"/>
              <a:gd name="connsiteY12" fmla="*/ 760 h 10000"/>
              <a:gd name="connsiteX13" fmla="*/ 3326 w 10000"/>
              <a:gd name="connsiteY13" fmla="*/ 0 h 10000"/>
              <a:gd name="connsiteX14" fmla="*/ 0 w 10000"/>
              <a:gd name="connsiteY14" fmla="*/ 1099 h 10000"/>
              <a:gd name="connsiteX15" fmla="*/ 2697 w 10000"/>
              <a:gd name="connsiteY15" fmla="*/ 3180 h 10000"/>
              <a:gd name="connsiteX16" fmla="*/ 2864 w 10000"/>
              <a:gd name="connsiteY16" fmla="*/ 2342 h 10000"/>
              <a:gd name="connsiteX17" fmla="*/ 3132 w 10000"/>
              <a:gd name="connsiteY17" fmla="*/ 2394 h 10000"/>
              <a:gd name="connsiteX18" fmla="*/ 3594 w 10000"/>
              <a:gd name="connsiteY18" fmla="*/ 2501 h 10000"/>
              <a:gd name="connsiteX19" fmla="*/ 4120 w 10000"/>
              <a:gd name="connsiteY19" fmla="*/ 2652 h 10000"/>
              <a:gd name="connsiteX20" fmla="*/ 4129 w 10000"/>
              <a:gd name="connsiteY20" fmla="*/ 2652 h 10000"/>
              <a:gd name="connsiteX21" fmla="*/ 4138 w 10000"/>
              <a:gd name="connsiteY21" fmla="*/ 2660 h 10000"/>
              <a:gd name="connsiteX22" fmla="*/ 4129 w 10000"/>
              <a:gd name="connsiteY22" fmla="*/ 2652 h 10000"/>
              <a:gd name="connsiteX23" fmla="*/ 4138 w 10000"/>
              <a:gd name="connsiteY23" fmla="*/ 2652 h 10000"/>
              <a:gd name="connsiteX24" fmla="*/ 4176 w 10000"/>
              <a:gd name="connsiteY24" fmla="*/ 2671 h 10000"/>
              <a:gd name="connsiteX25" fmla="*/ 4250 w 10000"/>
              <a:gd name="connsiteY25" fmla="*/ 2695 h 10000"/>
              <a:gd name="connsiteX26" fmla="*/ 4407 w 10000"/>
              <a:gd name="connsiteY26" fmla="*/ 2747 h 10000"/>
              <a:gd name="connsiteX27" fmla="*/ 4693 w 10000"/>
              <a:gd name="connsiteY27" fmla="*/ 2858 h 10000"/>
              <a:gd name="connsiteX28" fmla="*/ 5904 w 10000"/>
              <a:gd name="connsiteY28" fmla="*/ 3430 h 10000"/>
              <a:gd name="connsiteX29" fmla="*/ 7123 w 10000"/>
              <a:gd name="connsiteY29" fmla="*/ 4275 h 10000"/>
              <a:gd name="connsiteX30" fmla="*/ 8203 w 10000"/>
              <a:gd name="connsiteY30" fmla="*/ 5409 h 10000"/>
              <a:gd name="connsiteX31" fmla="*/ 8962 w 10000"/>
              <a:gd name="connsiteY31" fmla="*/ 6789 h 10000"/>
              <a:gd name="connsiteX32" fmla="*/ 9211 w 10000"/>
              <a:gd name="connsiteY32" fmla="*/ 8307 h 10000"/>
              <a:gd name="connsiteX33" fmla="*/ 9100 w 10000"/>
              <a:gd name="connsiteY33" fmla="*/ 9061 h 10000"/>
              <a:gd name="connsiteX34" fmla="*/ 9054 w 10000"/>
              <a:gd name="connsiteY34" fmla="*/ 9239 h 10000"/>
              <a:gd name="connsiteX35" fmla="*/ 8989 w 10000"/>
              <a:gd name="connsiteY35" fmla="*/ 9417 h 10000"/>
              <a:gd name="connsiteX36" fmla="*/ 8971 w 10000"/>
              <a:gd name="connsiteY36" fmla="*/ 9468 h 10000"/>
              <a:gd name="connsiteX37" fmla="*/ 8971 w 10000"/>
              <a:gd name="connsiteY37" fmla="*/ 9476 h 10000"/>
              <a:gd name="connsiteX38" fmla="*/ 8971 w 10000"/>
              <a:gd name="connsiteY38" fmla="*/ 9482 h 10000"/>
              <a:gd name="connsiteX39" fmla="*/ 8971 w 10000"/>
              <a:gd name="connsiteY39" fmla="*/ 9476 h 10000"/>
              <a:gd name="connsiteX40" fmla="*/ 8962 w 10000"/>
              <a:gd name="connsiteY40" fmla="*/ 9498 h 10000"/>
              <a:gd name="connsiteX41" fmla="*/ 8915 w 10000"/>
              <a:gd name="connsiteY41" fmla="*/ 9593 h 10000"/>
              <a:gd name="connsiteX42" fmla="*/ 8841 w 10000"/>
              <a:gd name="connsiteY42" fmla="*/ 9770 h 10000"/>
              <a:gd name="connsiteX43" fmla="*/ 9367 w 10000"/>
              <a:gd name="connsiteY43" fmla="*/ 10000 h 10000"/>
              <a:gd name="connsiteX44" fmla="*/ 9516 w 10000"/>
              <a:gd name="connsiteY44" fmla="*/ 9735 h 10000"/>
              <a:gd name="connsiteX45" fmla="*/ 9534 w 10000"/>
              <a:gd name="connsiteY45" fmla="*/ 9711 h 10000"/>
              <a:gd name="connsiteX46" fmla="*/ 9552 w 10000"/>
              <a:gd name="connsiteY46" fmla="*/ 9678 h 10000"/>
              <a:gd name="connsiteX47" fmla="*/ 9571 w 10000"/>
              <a:gd name="connsiteY47" fmla="*/ 9625 h 10000"/>
              <a:gd name="connsiteX48" fmla="*/ 9664 w 10000"/>
              <a:gd name="connsiteY48" fmla="*/ 9433 h 10000"/>
              <a:gd name="connsiteX49" fmla="*/ 9737 w 10000"/>
              <a:gd name="connsiteY49" fmla="*/ 9220 h 10000"/>
              <a:gd name="connsiteX50" fmla="*/ 9959 w 10000"/>
              <a:gd name="connsiteY50" fmla="*/ 8367 h 10000"/>
              <a:gd name="connsiteX51" fmla="*/ 9848 w 10000"/>
              <a:gd name="connsiteY51" fmla="*/ 6566 h 10000"/>
              <a:gd name="connsiteX0" fmla="*/ 9848 w 10000"/>
              <a:gd name="connsiteY0" fmla="*/ 6566 h 10001"/>
              <a:gd name="connsiteX1" fmla="*/ 9136 w 10000"/>
              <a:gd name="connsiteY1" fmla="*/ 4886 h 10001"/>
              <a:gd name="connsiteX2" fmla="*/ 8028 w 10000"/>
              <a:gd name="connsiteY2" fmla="*/ 3474 h 10001"/>
              <a:gd name="connsiteX3" fmla="*/ 6716 w 10000"/>
              <a:gd name="connsiteY3" fmla="*/ 2368 h 10001"/>
              <a:gd name="connsiteX4" fmla="*/ 5359 w 10000"/>
              <a:gd name="connsiteY4" fmla="*/ 1575 h 10001"/>
              <a:gd name="connsiteX5" fmla="*/ 5035 w 10000"/>
              <a:gd name="connsiteY5" fmla="*/ 1412 h 10001"/>
              <a:gd name="connsiteX6" fmla="*/ 4888 w 10000"/>
              <a:gd name="connsiteY6" fmla="*/ 1343 h 10001"/>
              <a:gd name="connsiteX7" fmla="*/ 4822 w 10000"/>
              <a:gd name="connsiteY7" fmla="*/ 1318 h 10001"/>
              <a:gd name="connsiteX8" fmla="*/ 4785 w 10000"/>
              <a:gd name="connsiteY8" fmla="*/ 1302 h 10001"/>
              <a:gd name="connsiteX9" fmla="*/ 4730 w 10000"/>
              <a:gd name="connsiteY9" fmla="*/ 1277 h 10001"/>
              <a:gd name="connsiteX10" fmla="*/ 4138 w 10000"/>
              <a:gd name="connsiteY10" fmla="*/ 1049 h 10001"/>
              <a:gd name="connsiteX11" fmla="*/ 3603 w 10000"/>
              <a:gd name="connsiteY11" fmla="*/ 869 h 10001"/>
              <a:gd name="connsiteX12" fmla="*/ 3178 w 10000"/>
              <a:gd name="connsiteY12" fmla="*/ 760 h 10001"/>
              <a:gd name="connsiteX13" fmla="*/ 3326 w 10000"/>
              <a:gd name="connsiteY13" fmla="*/ 0 h 10001"/>
              <a:gd name="connsiteX14" fmla="*/ 0 w 10000"/>
              <a:gd name="connsiteY14" fmla="*/ 1099 h 10001"/>
              <a:gd name="connsiteX15" fmla="*/ 2697 w 10000"/>
              <a:gd name="connsiteY15" fmla="*/ 3180 h 10001"/>
              <a:gd name="connsiteX16" fmla="*/ 2864 w 10000"/>
              <a:gd name="connsiteY16" fmla="*/ 2342 h 10001"/>
              <a:gd name="connsiteX17" fmla="*/ 3132 w 10000"/>
              <a:gd name="connsiteY17" fmla="*/ 2394 h 10001"/>
              <a:gd name="connsiteX18" fmla="*/ 3594 w 10000"/>
              <a:gd name="connsiteY18" fmla="*/ 2501 h 10001"/>
              <a:gd name="connsiteX19" fmla="*/ 4120 w 10000"/>
              <a:gd name="connsiteY19" fmla="*/ 2652 h 10001"/>
              <a:gd name="connsiteX20" fmla="*/ 4129 w 10000"/>
              <a:gd name="connsiteY20" fmla="*/ 2652 h 10001"/>
              <a:gd name="connsiteX21" fmla="*/ 4138 w 10000"/>
              <a:gd name="connsiteY21" fmla="*/ 2660 h 10001"/>
              <a:gd name="connsiteX22" fmla="*/ 4129 w 10000"/>
              <a:gd name="connsiteY22" fmla="*/ 2652 h 10001"/>
              <a:gd name="connsiteX23" fmla="*/ 4138 w 10000"/>
              <a:gd name="connsiteY23" fmla="*/ 2652 h 10001"/>
              <a:gd name="connsiteX24" fmla="*/ 4176 w 10000"/>
              <a:gd name="connsiteY24" fmla="*/ 2671 h 10001"/>
              <a:gd name="connsiteX25" fmla="*/ 4250 w 10000"/>
              <a:gd name="connsiteY25" fmla="*/ 2695 h 10001"/>
              <a:gd name="connsiteX26" fmla="*/ 4407 w 10000"/>
              <a:gd name="connsiteY26" fmla="*/ 2747 h 10001"/>
              <a:gd name="connsiteX27" fmla="*/ 4693 w 10000"/>
              <a:gd name="connsiteY27" fmla="*/ 2858 h 10001"/>
              <a:gd name="connsiteX28" fmla="*/ 5904 w 10000"/>
              <a:gd name="connsiteY28" fmla="*/ 3430 h 10001"/>
              <a:gd name="connsiteX29" fmla="*/ 7123 w 10000"/>
              <a:gd name="connsiteY29" fmla="*/ 4275 h 10001"/>
              <a:gd name="connsiteX30" fmla="*/ 8203 w 10000"/>
              <a:gd name="connsiteY30" fmla="*/ 5409 h 10001"/>
              <a:gd name="connsiteX31" fmla="*/ 8962 w 10000"/>
              <a:gd name="connsiteY31" fmla="*/ 6789 h 10001"/>
              <a:gd name="connsiteX32" fmla="*/ 9211 w 10000"/>
              <a:gd name="connsiteY32" fmla="*/ 8307 h 10001"/>
              <a:gd name="connsiteX33" fmla="*/ 9100 w 10000"/>
              <a:gd name="connsiteY33" fmla="*/ 9061 h 10001"/>
              <a:gd name="connsiteX34" fmla="*/ 9054 w 10000"/>
              <a:gd name="connsiteY34" fmla="*/ 9239 h 10001"/>
              <a:gd name="connsiteX35" fmla="*/ 8989 w 10000"/>
              <a:gd name="connsiteY35" fmla="*/ 9417 h 10001"/>
              <a:gd name="connsiteX36" fmla="*/ 8971 w 10000"/>
              <a:gd name="connsiteY36" fmla="*/ 9468 h 10001"/>
              <a:gd name="connsiteX37" fmla="*/ 8971 w 10000"/>
              <a:gd name="connsiteY37" fmla="*/ 9476 h 10001"/>
              <a:gd name="connsiteX38" fmla="*/ 8971 w 10000"/>
              <a:gd name="connsiteY38" fmla="*/ 9482 h 10001"/>
              <a:gd name="connsiteX39" fmla="*/ 8971 w 10000"/>
              <a:gd name="connsiteY39" fmla="*/ 9476 h 10001"/>
              <a:gd name="connsiteX40" fmla="*/ 8962 w 10000"/>
              <a:gd name="connsiteY40" fmla="*/ 9498 h 10001"/>
              <a:gd name="connsiteX41" fmla="*/ 8915 w 10000"/>
              <a:gd name="connsiteY41" fmla="*/ 9593 h 10001"/>
              <a:gd name="connsiteX42" fmla="*/ 9367 w 10000"/>
              <a:gd name="connsiteY42" fmla="*/ 10000 h 10001"/>
              <a:gd name="connsiteX43" fmla="*/ 9516 w 10000"/>
              <a:gd name="connsiteY43" fmla="*/ 9735 h 10001"/>
              <a:gd name="connsiteX44" fmla="*/ 9534 w 10000"/>
              <a:gd name="connsiteY44" fmla="*/ 9711 h 10001"/>
              <a:gd name="connsiteX45" fmla="*/ 9552 w 10000"/>
              <a:gd name="connsiteY45" fmla="*/ 9678 h 10001"/>
              <a:gd name="connsiteX46" fmla="*/ 9571 w 10000"/>
              <a:gd name="connsiteY46" fmla="*/ 9625 h 10001"/>
              <a:gd name="connsiteX47" fmla="*/ 9664 w 10000"/>
              <a:gd name="connsiteY47" fmla="*/ 9433 h 10001"/>
              <a:gd name="connsiteX48" fmla="*/ 9737 w 10000"/>
              <a:gd name="connsiteY48" fmla="*/ 9220 h 10001"/>
              <a:gd name="connsiteX49" fmla="*/ 9959 w 10000"/>
              <a:gd name="connsiteY49" fmla="*/ 8367 h 10001"/>
              <a:gd name="connsiteX50" fmla="*/ 9848 w 10000"/>
              <a:gd name="connsiteY50" fmla="*/ 6566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0000" h="10001">
                <a:moveTo>
                  <a:pt x="9848" y="6566"/>
                </a:moveTo>
                <a:cubicBezTo>
                  <a:pt x="9701" y="5977"/>
                  <a:pt x="9451" y="5401"/>
                  <a:pt x="9136" y="4886"/>
                </a:cubicBezTo>
                <a:cubicBezTo>
                  <a:pt x="8823" y="4359"/>
                  <a:pt x="8434" y="3895"/>
                  <a:pt x="8028" y="3474"/>
                </a:cubicBezTo>
                <a:cubicBezTo>
                  <a:pt x="7612" y="3052"/>
                  <a:pt x="7160" y="2678"/>
                  <a:pt x="6716" y="2368"/>
                </a:cubicBezTo>
                <a:cubicBezTo>
                  <a:pt x="6254" y="2053"/>
                  <a:pt x="5811" y="1793"/>
                  <a:pt x="5359" y="1575"/>
                </a:cubicBezTo>
                <a:cubicBezTo>
                  <a:pt x="5247" y="1514"/>
                  <a:pt x="5128" y="1452"/>
                  <a:pt x="5035" y="1412"/>
                </a:cubicBezTo>
                <a:cubicBezTo>
                  <a:pt x="4989" y="1397"/>
                  <a:pt x="4943" y="1368"/>
                  <a:pt x="4888" y="1343"/>
                </a:cubicBezTo>
                <a:cubicBezTo>
                  <a:pt x="4866" y="1333"/>
                  <a:pt x="4844" y="1327"/>
                  <a:pt x="4822" y="1318"/>
                </a:cubicBezTo>
                <a:cubicBezTo>
                  <a:pt x="4810" y="1313"/>
                  <a:pt x="4797" y="1308"/>
                  <a:pt x="4785" y="1302"/>
                </a:cubicBezTo>
                <a:cubicBezTo>
                  <a:pt x="4767" y="1293"/>
                  <a:pt x="4748" y="1286"/>
                  <a:pt x="4730" y="1277"/>
                </a:cubicBezTo>
                <a:cubicBezTo>
                  <a:pt x="4518" y="1200"/>
                  <a:pt x="4323" y="1115"/>
                  <a:pt x="4138" y="1049"/>
                </a:cubicBezTo>
                <a:cubicBezTo>
                  <a:pt x="3945" y="988"/>
                  <a:pt x="3760" y="929"/>
                  <a:pt x="3603" y="869"/>
                </a:cubicBezTo>
                <a:cubicBezTo>
                  <a:pt x="3456" y="827"/>
                  <a:pt x="3307" y="794"/>
                  <a:pt x="3178" y="760"/>
                </a:cubicBezTo>
                <a:cubicBezTo>
                  <a:pt x="3227" y="507"/>
                  <a:pt x="3277" y="251"/>
                  <a:pt x="3326" y="0"/>
                </a:cubicBezTo>
                <a:lnTo>
                  <a:pt x="0" y="1099"/>
                </a:lnTo>
                <a:lnTo>
                  <a:pt x="2697" y="3180"/>
                </a:lnTo>
                <a:cubicBezTo>
                  <a:pt x="2753" y="2901"/>
                  <a:pt x="2808" y="2622"/>
                  <a:pt x="2864" y="2342"/>
                </a:cubicBezTo>
                <a:cubicBezTo>
                  <a:pt x="2947" y="2360"/>
                  <a:pt x="3030" y="2368"/>
                  <a:pt x="3132" y="2394"/>
                </a:cubicBezTo>
                <a:lnTo>
                  <a:pt x="3594" y="2501"/>
                </a:lnTo>
                <a:cubicBezTo>
                  <a:pt x="3760" y="2545"/>
                  <a:pt x="3936" y="2597"/>
                  <a:pt x="4120" y="2652"/>
                </a:cubicBezTo>
                <a:lnTo>
                  <a:pt x="4129" y="2652"/>
                </a:lnTo>
                <a:cubicBezTo>
                  <a:pt x="4132" y="2654"/>
                  <a:pt x="4135" y="2657"/>
                  <a:pt x="4138" y="2660"/>
                </a:cubicBezTo>
                <a:cubicBezTo>
                  <a:pt x="4111" y="2645"/>
                  <a:pt x="4138" y="2652"/>
                  <a:pt x="4129" y="2652"/>
                </a:cubicBezTo>
                <a:lnTo>
                  <a:pt x="4138" y="2652"/>
                </a:lnTo>
                <a:cubicBezTo>
                  <a:pt x="4150" y="2657"/>
                  <a:pt x="4163" y="2665"/>
                  <a:pt x="4176" y="2671"/>
                </a:cubicBezTo>
                <a:lnTo>
                  <a:pt x="4250" y="2695"/>
                </a:lnTo>
                <a:cubicBezTo>
                  <a:pt x="4296" y="2715"/>
                  <a:pt x="4351" y="2730"/>
                  <a:pt x="4407" y="2747"/>
                </a:cubicBezTo>
                <a:cubicBezTo>
                  <a:pt x="4508" y="2789"/>
                  <a:pt x="4591" y="2824"/>
                  <a:pt x="4693" y="2858"/>
                </a:cubicBezTo>
                <a:cubicBezTo>
                  <a:pt x="5072" y="3000"/>
                  <a:pt x="5488" y="3195"/>
                  <a:pt x="5904" y="3430"/>
                </a:cubicBezTo>
                <a:cubicBezTo>
                  <a:pt x="6309" y="3671"/>
                  <a:pt x="6735" y="3946"/>
                  <a:pt x="7123" y="4275"/>
                </a:cubicBezTo>
                <a:cubicBezTo>
                  <a:pt x="7511" y="4614"/>
                  <a:pt x="7889" y="4988"/>
                  <a:pt x="8203" y="5409"/>
                </a:cubicBezTo>
                <a:cubicBezTo>
                  <a:pt x="8518" y="5832"/>
                  <a:pt x="8777" y="6296"/>
                  <a:pt x="8962" y="6789"/>
                </a:cubicBezTo>
                <a:cubicBezTo>
                  <a:pt x="9136" y="7277"/>
                  <a:pt x="9229" y="7793"/>
                  <a:pt x="9211" y="8307"/>
                </a:cubicBezTo>
                <a:cubicBezTo>
                  <a:pt x="9202" y="8563"/>
                  <a:pt x="9155" y="8815"/>
                  <a:pt x="9100" y="9061"/>
                </a:cubicBezTo>
                <a:cubicBezTo>
                  <a:pt x="9085" y="9120"/>
                  <a:pt x="9069" y="9179"/>
                  <a:pt x="9054" y="9239"/>
                </a:cubicBezTo>
                <a:cubicBezTo>
                  <a:pt x="9032" y="9297"/>
                  <a:pt x="9011" y="9357"/>
                  <a:pt x="8989" y="9417"/>
                </a:cubicBezTo>
                <a:cubicBezTo>
                  <a:pt x="8983" y="9433"/>
                  <a:pt x="8977" y="9451"/>
                  <a:pt x="8971" y="9468"/>
                </a:cubicBezTo>
                <a:lnTo>
                  <a:pt x="8971" y="9476"/>
                </a:lnTo>
                <a:lnTo>
                  <a:pt x="8971" y="9482"/>
                </a:lnTo>
                <a:cubicBezTo>
                  <a:pt x="8962" y="9490"/>
                  <a:pt x="8971" y="9476"/>
                  <a:pt x="8971" y="9476"/>
                </a:cubicBezTo>
                <a:cubicBezTo>
                  <a:pt x="8968" y="9483"/>
                  <a:pt x="8965" y="9491"/>
                  <a:pt x="8962" y="9498"/>
                </a:cubicBezTo>
                <a:cubicBezTo>
                  <a:pt x="8947" y="9532"/>
                  <a:pt x="8931" y="9561"/>
                  <a:pt x="8915" y="9593"/>
                </a:cubicBezTo>
                <a:cubicBezTo>
                  <a:pt x="8982" y="9677"/>
                  <a:pt x="9267" y="9976"/>
                  <a:pt x="9367" y="10000"/>
                </a:cubicBezTo>
                <a:cubicBezTo>
                  <a:pt x="9467" y="10024"/>
                  <a:pt x="9488" y="9783"/>
                  <a:pt x="9516" y="9735"/>
                </a:cubicBezTo>
                <a:cubicBezTo>
                  <a:pt x="9544" y="9687"/>
                  <a:pt x="9528" y="9721"/>
                  <a:pt x="9534" y="9711"/>
                </a:cubicBezTo>
                <a:cubicBezTo>
                  <a:pt x="9540" y="9701"/>
                  <a:pt x="9546" y="9689"/>
                  <a:pt x="9552" y="9678"/>
                </a:cubicBezTo>
                <a:cubicBezTo>
                  <a:pt x="9558" y="9661"/>
                  <a:pt x="9565" y="9643"/>
                  <a:pt x="9571" y="9625"/>
                </a:cubicBezTo>
                <a:cubicBezTo>
                  <a:pt x="9602" y="9561"/>
                  <a:pt x="9633" y="9496"/>
                  <a:pt x="9664" y="9433"/>
                </a:cubicBezTo>
                <a:cubicBezTo>
                  <a:pt x="9688" y="9361"/>
                  <a:pt x="9713" y="9291"/>
                  <a:pt x="9737" y="9220"/>
                </a:cubicBezTo>
                <a:cubicBezTo>
                  <a:pt x="9839" y="8952"/>
                  <a:pt x="9922" y="8664"/>
                  <a:pt x="9959" y="8367"/>
                </a:cubicBezTo>
                <a:cubicBezTo>
                  <a:pt x="10042" y="7767"/>
                  <a:pt x="9996" y="7159"/>
                  <a:pt x="9848" y="6566"/>
                </a:cubicBezTo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8753" tIns="49377" rIns="98753" bIns="4937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7552">
              <a:defRPr/>
            </a:pPr>
            <a:endParaRPr lang="fr-FR" sz="1944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7" name="Arrow9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AF447DF-4011-7E2E-7B28-F601D5A85666}"/>
              </a:ext>
            </a:extLst>
          </p:cNvPr>
          <p:cNvSpPr>
            <a:spLocks noChangeAspect="1"/>
          </p:cNvSpPr>
          <p:nvPr/>
        </p:nvSpPr>
        <p:spPr bwMode="auto">
          <a:xfrm rot="900000">
            <a:off x="6426106" y="3337432"/>
            <a:ext cx="504872" cy="891947"/>
          </a:xfrm>
          <a:custGeom>
            <a:avLst/>
            <a:gdLst>
              <a:gd name="T0" fmla="*/ 989 w 1087"/>
              <a:gd name="T1" fmla="*/ 578 h 1486"/>
              <a:gd name="T2" fmla="*/ 727 w 1087"/>
              <a:gd name="T3" fmla="*/ 280 h 1486"/>
              <a:gd name="T4" fmla="*/ 545 w 1087"/>
              <a:gd name="T5" fmla="*/ 167 h 1486"/>
              <a:gd name="T6" fmla="*/ 522 w 1087"/>
              <a:gd name="T7" fmla="*/ 156 h 1486"/>
              <a:gd name="T8" fmla="*/ 512 w 1087"/>
              <a:gd name="T9" fmla="*/ 151 h 1486"/>
              <a:gd name="T10" fmla="*/ 390 w 1087"/>
              <a:gd name="T11" fmla="*/ 103 h 1486"/>
              <a:gd name="T12" fmla="*/ 360 w 1087"/>
              <a:gd name="T13" fmla="*/ 0 h 1486"/>
              <a:gd name="T14" fmla="*/ 292 w 1087"/>
              <a:gd name="T15" fmla="*/ 376 h 1486"/>
              <a:gd name="T16" fmla="*/ 339 w 1087"/>
              <a:gd name="T17" fmla="*/ 283 h 1486"/>
              <a:gd name="T18" fmla="*/ 446 w 1087"/>
              <a:gd name="T19" fmla="*/ 314 h 1486"/>
              <a:gd name="T20" fmla="*/ 448 w 1087"/>
              <a:gd name="T21" fmla="*/ 315 h 1486"/>
              <a:gd name="T22" fmla="*/ 448 w 1087"/>
              <a:gd name="T23" fmla="*/ 314 h 1486"/>
              <a:gd name="T24" fmla="*/ 460 w 1087"/>
              <a:gd name="T25" fmla="*/ 319 h 1486"/>
              <a:gd name="T26" fmla="*/ 508 w 1087"/>
              <a:gd name="T27" fmla="*/ 338 h 1486"/>
              <a:gd name="T28" fmla="*/ 771 w 1087"/>
              <a:gd name="T29" fmla="*/ 506 h 1486"/>
              <a:gd name="T30" fmla="*/ 970 w 1087"/>
              <a:gd name="T31" fmla="*/ 803 h 1486"/>
              <a:gd name="T32" fmla="*/ 985 w 1087"/>
              <a:gd name="T33" fmla="*/ 1072 h 1486"/>
              <a:gd name="T34" fmla="*/ 973 w 1087"/>
              <a:gd name="T35" fmla="*/ 1114 h 1486"/>
              <a:gd name="T36" fmla="*/ 971 w 1087"/>
              <a:gd name="T37" fmla="*/ 1121 h 1486"/>
              <a:gd name="T38" fmla="*/ 971 w 1087"/>
              <a:gd name="T39" fmla="*/ 1121 h 1486"/>
              <a:gd name="T40" fmla="*/ 965 w 1087"/>
              <a:gd name="T41" fmla="*/ 1135 h 1486"/>
              <a:gd name="T42" fmla="*/ 938 w 1087"/>
              <a:gd name="T43" fmla="*/ 1194 h 1486"/>
              <a:gd name="T44" fmla="*/ 890 w 1087"/>
              <a:gd name="T45" fmla="*/ 1265 h 1486"/>
              <a:gd name="T46" fmla="*/ 739 w 1087"/>
              <a:gd name="T47" fmla="*/ 1391 h 1486"/>
              <a:gd name="T48" fmla="*/ 564 w 1087"/>
              <a:gd name="T49" fmla="*/ 1462 h 1486"/>
              <a:gd name="T50" fmla="*/ 479 w 1087"/>
              <a:gd name="T51" fmla="*/ 1480 h 1486"/>
              <a:gd name="T52" fmla="*/ 427 w 1087"/>
              <a:gd name="T53" fmla="*/ 1486 h 1486"/>
              <a:gd name="T54" fmla="*/ 480 w 1087"/>
              <a:gd name="T55" fmla="*/ 1485 h 1486"/>
              <a:gd name="T56" fmla="*/ 567 w 1087"/>
              <a:gd name="T57" fmla="*/ 1475 h 1486"/>
              <a:gd name="T58" fmla="*/ 754 w 1087"/>
              <a:gd name="T59" fmla="*/ 1418 h 1486"/>
              <a:gd name="T60" fmla="*/ 1014 w 1087"/>
              <a:gd name="T61" fmla="*/ 1183 h 1486"/>
              <a:gd name="T62" fmla="*/ 1030 w 1087"/>
              <a:gd name="T63" fmla="*/ 1152 h 1486"/>
              <a:gd name="T64" fmla="*/ 1034 w 1087"/>
              <a:gd name="T65" fmla="*/ 1145 h 1486"/>
              <a:gd name="T66" fmla="*/ 1046 w 1087"/>
              <a:gd name="T67" fmla="*/ 1116 h 1486"/>
              <a:gd name="T68" fmla="*/ 1078 w 1087"/>
              <a:gd name="T69" fmla="*/ 990 h 1486"/>
              <a:gd name="connsiteX0" fmla="*/ 9807 w 9958"/>
              <a:gd name="connsiteY0" fmla="*/ 5229 h 10000"/>
              <a:gd name="connsiteX1" fmla="*/ 9098 w 9958"/>
              <a:gd name="connsiteY1" fmla="*/ 3890 h 10000"/>
              <a:gd name="connsiteX2" fmla="*/ 7994 w 9958"/>
              <a:gd name="connsiteY2" fmla="*/ 2766 h 10000"/>
              <a:gd name="connsiteX3" fmla="*/ 6688 w 9958"/>
              <a:gd name="connsiteY3" fmla="*/ 1884 h 10000"/>
              <a:gd name="connsiteX4" fmla="*/ 5336 w 9958"/>
              <a:gd name="connsiteY4" fmla="*/ 1252 h 10000"/>
              <a:gd name="connsiteX5" fmla="*/ 5014 w 9958"/>
              <a:gd name="connsiteY5" fmla="*/ 1124 h 10000"/>
              <a:gd name="connsiteX6" fmla="*/ 4867 w 9958"/>
              <a:gd name="connsiteY6" fmla="*/ 1070 h 10000"/>
              <a:gd name="connsiteX7" fmla="*/ 4802 w 9958"/>
              <a:gd name="connsiteY7" fmla="*/ 1050 h 10000"/>
              <a:gd name="connsiteX8" fmla="*/ 4765 w 9958"/>
              <a:gd name="connsiteY8" fmla="*/ 1036 h 10000"/>
              <a:gd name="connsiteX9" fmla="*/ 4710 w 9958"/>
              <a:gd name="connsiteY9" fmla="*/ 1016 h 10000"/>
              <a:gd name="connsiteX10" fmla="*/ 4121 w 9958"/>
              <a:gd name="connsiteY10" fmla="*/ 834 h 10000"/>
              <a:gd name="connsiteX11" fmla="*/ 3588 w 9958"/>
              <a:gd name="connsiteY11" fmla="*/ 693 h 10000"/>
              <a:gd name="connsiteX12" fmla="*/ 3165 w 9958"/>
              <a:gd name="connsiteY12" fmla="*/ 606 h 10000"/>
              <a:gd name="connsiteX13" fmla="*/ 3312 w 9958"/>
              <a:gd name="connsiteY13" fmla="*/ 0 h 10000"/>
              <a:gd name="connsiteX14" fmla="*/ 0 w 9958"/>
              <a:gd name="connsiteY14" fmla="*/ 875 h 10000"/>
              <a:gd name="connsiteX15" fmla="*/ 2686 w 9958"/>
              <a:gd name="connsiteY15" fmla="*/ 2530 h 10000"/>
              <a:gd name="connsiteX16" fmla="*/ 2852 w 9958"/>
              <a:gd name="connsiteY16" fmla="*/ 1864 h 10000"/>
              <a:gd name="connsiteX17" fmla="*/ 3119 w 9958"/>
              <a:gd name="connsiteY17" fmla="*/ 1904 h 10000"/>
              <a:gd name="connsiteX18" fmla="*/ 3579 w 9958"/>
              <a:gd name="connsiteY18" fmla="*/ 1992 h 10000"/>
              <a:gd name="connsiteX19" fmla="*/ 4103 w 9958"/>
              <a:gd name="connsiteY19" fmla="*/ 2113 h 10000"/>
              <a:gd name="connsiteX20" fmla="*/ 4112 w 9958"/>
              <a:gd name="connsiteY20" fmla="*/ 2113 h 10000"/>
              <a:gd name="connsiteX21" fmla="*/ 4121 w 9958"/>
              <a:gd name="connsiteY21" fmla="*/ 2120 h 10000"/>
              <a:gd name="connsiteX22" fmla="*/ 4112 w 9958"/>
              <a:gd name="connsiteY22" fmla="*/ 2113 h 10000"/>
              <a:gd name="connsiteX23" fmla="*/ 4121 w 9958"/>
              <a:gd name="connsiteY23" fmla="*/ 2113 h 10000"/>
              <a:gd name="connsiteX24" fmla="*/ 4158 w 9958"/>
              <a:gd name="connsiteY24" fmla="*/ 2127 h 10000"/>
              <a:gd name="connsiteX25" fmla="*/ 4232 w 9958"/>
              <a:gd name="connsiteY25" fmla="*/ 2147 h 10000"/>
              <a:gd name="connsiteX26" fmla="*/ 4388 w 9958"/>
              <a:gd name="connsiteY26" fmla="*/ 2187 h 10000"/>
              <a:gd name="connsiteX27" fmla="*/ 4673 w 9958"/>
              <a:gd name="connsiteY27" fmla="*/ 2275 h 10000"/>
              <a:gd name="connsiteX28" fmla="*/ 5879 w 9958"/>
              <a:gd name="connsiteY28" fmla="*/ 2732 h 10000"/>
              <a:gd name="connsiteX29" fmla="*/ 7093 w 9958"/>
              <a:gd name="connsiteY29" fmla="*/ 3405 h 10000"/>
              <a:gd name="connsiteX30" fmla="*/ 8169 w 9958"/>
              <a:gd name="connsiteY30" fmla="*/ 4307 h 10000"/>
              <a:gd name="connsiteX31" fmla="*/ 8924 w 9958"/>
              <a:gd name="connsiteY31" fmla="*/ 5404 h 10000"/>
              <a:gd name="connsiteX32" fmla="*/ 9172 w 9958"/>
              <a:gd name="connsiteY32" fmla="*/ 6615 h 10000"/>
              <a:gd name="connsiteX33" fmla="*/ 9062 w 9958"/>
              <a:gd name="connsiteY33" fmla="*/ 7214 h 10000"/>
              <a:gd name="connsiteX34" fmla="*/ 9016 w 9958"/>
              <a:gd name="connsiteY34" fmla="*/ 7355 h 10000"/>
              <a:gd name="connsiteX35" fmla="*/ 8951 w 9958"/>
              <a:gd name="connsiteY35" fmla="*/ 7497 h 10000"/>
              <a:gd name="connsiteX36" fmla="*/ 8933 w 9958"/>
              <a:gd name="connsiteY36" fmla="*/ 7537 h 10000"/>
              <a:gd name="connsiteX37" fmla="*/ 8933 w 9958"/>
              <a:gd name="connsiteY37" fmla="*/ 7544 h 10000"/>
              <a:gd name="connsiteX38" fmla="*/ 8933 w 9958"/>
              <a:gd name="connsiteY38" fmla="*/ 7550 h 10000"/>
              <a:gd name="connsiteX39" fmla="*/ 8933 w 9958"/>
              <a:gd name="connsiteY39" fmla="*/ 7544 h 10000"/>
              <a:gd name="connsiteX40" fmla="*/ 8924 w 9958"/>
              <a:gd name="connsiteY40" fmla="*/ 7564 h 10000"/>
              <a:gd name="connsiteX41" fmla="*/ 8878 w 9958"/>
              <a:gd name="connsiteY41" fmla="*/ 7638 h 10000"/>
              <a:gd name="connsiteX42" fmla="*/ 8804 w 9958"/>
              <a:gd name="connsiteY42" fmla="*/ 7779 h 10000"/>
              <a:gd name="connsiteX43" fmla="*/ 8629 w 9958"/>
              <a:gd name="connsiteY43" fmla="*/ 8035 h 10000"/>
              <a:gd name="connsiteX44" fmla="*/ 8418 w 9958"/>
              <a:gd name="connsiteY44" fmla="*/ 8284 h 10000"/>
              <a:gd name="connsiteX45" fmla="*/ 8188 w 9958"/>
              <a:gd name="connsiteY45" fmla="*/ 8513 h 10000"/>
              <a:gd name="connsiteX46" fmla="*/ 7930 w 9958"/>
              <a:gd name="connsiteY46" fmla="*/ 8715 h 10000"/>
              <a:gd name="connsiteX47" fmla="*/ 6799 w 9958"/>
              <a:gd name="connsiteY47" fmla="*/ 9361 h 10000"/>
              <a:gd name="connsiteX48" fmla="*/ 5685 w 9958"/>
              <a:gd name="connsiteY48" fmla="*/ 9731 h 10000"/>
              <a:gd name="connsiteX49" fmla="*/ 5189 w 9958"/>
              <a:gd name="connsiteY49" fmla="*/ 9838 h 10000"/>
              <a:gd name="connsiteX50" fmla="*/ 4756 w 9958"/>
              <a:gd name="connsiteY50" fmla="*/ 9913 h 10000"/>
              <a:gd name="connsiteX51" fmla="*/ 4407 w 9958"/>
              <a:gd name="connsiteY51" fmla="*/ 9960 h 10000"/>
              <a:gd name="connsiteX52" fmla="*/ 4149 w 9958"/>
              <a:gd name="connsiteY52" fmla="*/ 9980 h 10000"/>
              <a:gd name="connsiteX53" fmla="*/ 3928 w 9958"/>
              <a:gd name="connsiteY53" fmla="*/ 10000 h 10000"/>
              <a:gd name="connsiteX54" fmla="*/ 4149 w 9958"/>
              <a:gd name="connsiteY54" fmla="*/ 10000 h 10000"/>
              <a:gd name="connsiteX55" fmla="*/ 4416 w 9958"/>
              <a:gd name="connsiteY55" fmla="*/ 9993 h 10000"/>
              <a:gd name="connsiteX56" fmla="*/ 5216 w 9958"/>
              <a:gd name="connsiteY56" fmla="*/ 9926 h 10000"/>
              <a:gd name="connsiteX57" fmla="*/ 5731 w 9958"/>
              <a:gd name="connsiteY57" fmla="*/ 9845 h 10000"/>
              <a:gd name="connsiteX58" fmla="*/ 6937 w 9958"/>
              <a:gd name="connsiteY58" fmla="*/ 9542 h 10000"/>
              <a:gd name="connsiteX59" fmla="*/ 8224 w 9958"/>
              <a:gd name="connsiteY59" fmla="*/ 8943 h 10000"/>
              <a:gd name="connsiteX60" fmla="*/ 9328 w 9958"/>
              <a:gd name="connsiteY60" fmla="*/ 7961 h 10000"/>
              <a:gd name="connsiteX61" fmla="*/ 9430 w 9958"/>
              <a:gd name="connsiteY61" fmla="*/ 7820 h 10000"/>
              <a:gd name="connsiteX62" fmla="*/ 9476 w 9958"/>
              <a:gd name="connsiteY62" fmla="*/ 7752 h 10000"/>
              <a:gd name="connsiteX63" fmla="*/ 9494 w 9958"/>
              <a:gd name="connsiteY63" fmla="*/ 7732 h 10000"/>
              <a:gd name="connsiteX64" fmla="*/ 9512 w 9958"/>
              <a:gd name="connsiteY64" fmla="*/ 7705 h 10000"/>
              <a:gd name="connsiteX65" fmla="*/ 9531 w 9958"/>
              <a:gd name="connsiteY65" fmla="*/ 7665 h 10000"/>
              <a:gd name="connsiteX66" fmla="*/ 9623 w 9958"/>
              <a:gd name="connsiteY66" fmla="*/ 7510 h 10000"/>
              <a:gd name="connsiteX67" fmla="*/ 9696 w 9958"/>
              <a:gd name="connsiteY67" fmla="*/ 7342 h 10000"/>
              <a:gd name="connsiteX68" fmla="*/ 9917 w 9958"/>
              <a:gd name="connsiteY68" fmla="*/ 6662 h 10000"/>
              <a:gd name="connsiteX69" fmla="*/ 9807 w 9958"/>
              <a:gd name="connsiteY69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4435 w 10000"/>
              <a:gd name="connsiteY55" fmla="*/ 9993 h 10000"/>
              <a:gd name="connsiteX56" fmla="*/ 5755 w 10000"/>
              <a:gd name="connsiteY56" fmla="*/ 9845 h 10000"/>
              <a:gd name="connsiteX57" fmla="*/ 6966 w 10000"/>
              <a:gd name="connsiteY57" fmla="*/ 9542 h 10000"/>
              <a:gd name="connsiteX58" fmla="*/ 8259 w 10000"/>
              <a:gd name="connsiteY58" fmla="*/ 8943 h 10000"/>
              <a:gd name="connsiteX59" fmla="*/ 9367 w 10000"/>
              <a:gd name="connsiteY59" fmla="*/ 7961 h 10000"/>
              <a:gd name="connsiteX60" fmla="*/ 9470 w 10000"/>
              <a:gd name="connsiteY60" fmla="*/ 7820 h 10000"/>
              <a:gd name="connsiteX61" fmla="*/ 9516 w 10000"/>
              <a:gd name="connsiteY61" fmla="*/ 7752 h 10000"/>
              <a:gd name="connsiteX62" fmla="*/ 9534 w 10000"/>
              <a:gd name="connsiteY62" fmla="*/ 7732 h 10000"/>
              <a:gd name="connsiteX63" fmla="*/ 9552 w 10000"/>
              <a:gd name="connsiteY63" fmla="*/ 7705 h 10000"/>
              <a:gd name="connsiteX64" fmla="*/ 9571 w 10000"/>
              <a:gd name="connsiteY64" fmla="*/ 7665 h 10000"/>
              <a:gd name="connsiteX65" fmla="*/ 9664 w 10000"/>
              <a:gd name="connsiteY65" fmla="*/ 7510 h 10000"/>
              <a:gd name="connsiteX66" fmla="*/ 9737 w 10000"/>
              <a:gd name="connsiteY66" fmla="*/ 7342 h 10000"/>
              <a:gd name="connsiteX67" fmla="*/ 9959 w 10000"/>
              <a:gd name="connsiteY67" fmla="*/ 6662 h 10000"/>
              <a:gd name="connsiteX68" fmla="*/ 9848 w 10000"/>
              <a:gd name="connsiteY68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5755 w 10000"/>
              <a:gd name="connsiteY55" fmla="*/ 9845 h 10000"/>
              <a:gd name="connsiteX56" fmla="*/ 6966 w 10000"/>
              <a:gd name="connsiteY56" fmla="*/ 9542 h 10000"/>
              <a:gd name="connsiteX57" fmla="*/ 8259 w 10000"/>
              <a:gd name="connsiteY57" fmla="*/ 8943 h 10000"/>
              <a:gd name="connsiteX58" fmla="*/ 9367 w 10000"/>
              <a:gd name="connsiteY58" fmla="*/ 7961 h 10000"/>
              <a:gd name="connsiteX59" fmla="*/ 9470 w 10000"/>
              <a:gd name="connsiteY59" fmla="*/ 7820 h 10000"/>
              <a:gd name="connsiteX60" fmla="*/ 9516 w 10000"/>
              <a:gd name="connsiteY60" fmla="*/ 7752 h 10000"/>
              <a:gd name="connsiteX61" fmla="*/ 9534 w 10000"/>
              <a:gd name="connsiteY61" fmla="*/ 7732 h 10000"/>
              <a:gd name="connsiteX62" fmla="*/ 9552 w 10000"/>
              <a:gd name="connsiteY62" fmla="*/ 7705 h 10000"/>
              <a:gd name="connsiteX63" fmla="*/ 9571 w 10000"/>
              <a:gd name="connsiteY63" fmla="*/ 7665 h 10000"/>
              <a:gd name="connsiteX64" fmla="*/ 9664 w 10000"/>
              <a:gd name="connsiteY64" fmla="*/ 7510 h 10000"/>
              <a:gd name="connsiteX65" fmla="*/ 9737 w 10000"/>
              <a:gd name="connsiteY65" fmla="*/ 7342 h 10000"/>
              <a:gd name="connsiteX66" fmla="*/ 9959 w 10000"/>
              <a:gd name="connsiteY66" fmla="*/ 6662 h 10000"/>
              <a:gd name="connsiteX67" fmla="*/ 9848 w 10000"/>
              <a:gd name="connsiteY67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4166 w 10000"/>
              <a:gd name="connsiteY54" fmla="*/ 10000 h 10000"/>
              <a:gd name="connsiteX55" fmla="*/ 6966 w 10000"/>
              <a:gd name="connsiteY55" fmla="*/ 9542 h 10000"/>
              <a:gd name="connsiteX56" fmla="*/ 8259 w 10000"/>
              <a:gd name="connsiteY56" fmla="*/ 8943 h 10000"/>
              <a:gd name="connsiteX57" fmla="*/ 9367 w 10000"/>
              <a:gd name="connsiteY57" fmla="*/ 7961 h 10000"/>
              <a:gd name="connsiteX58" fmla="*/ 9470 w 10000"/>
              <a:gd name="connsiteY58" fmla="*/ 7820 h 10000"/>
              <a:gd name="connsiteX59" fmla="*/ 9516 w 10000"/>
              <a:gd name="connsiteY59" fmla="*/ 7752 h 10000"/>
              <a:gd name="connsiteX60" fmla="*/ 9534 w 10000"/>
              <a:gd name="connsiteY60" fmla="*/ 7732 h 10000"/>
              <a:gd name="connsiteX61" fmla="*/ 9552 w 10000"/>
              <a:gd name="connsiteY61" fmla="*/ 7705 h 10000"/>
              <a:gd name="connsiteX62" fmla="*/ 9571 w 10000"/>
              <a:gd name="connsiteY62" fmla="*/ 7665 h 10000"/>
              <a:gd name="connsiteX63" fmla="*/ 9664 w 10000"/>
              <a:gd name="connsiteY63" fmla="*/ 7510 h 10000"/>
              <a:gd name="connsiteX64" fmla="*/ 9737 w 10000"/>
              <a:gd name="connsiteY64" fmla="*/ 7342 h 10000"/>
              <a:gd name="connsiteX65" fmla="*/ 9959 w 10000"/>
              <a:gd name="connsiteY65" fmla="*/ 6662 h 10000"/>
              <a:gd name="connsiteX66" fmla="*/ 9848 w 10000"/>
              <a:gd name="connsiteY66" fmla="*/ 5229 h 10000"/>
              <a:gd name="connsiteX0" fmla="*/ 9848 w 10000"/>
              <a:gd name="connsiteY0" fmla="*/ 5229 h 10000"/>
              <a:gd name="connsiteX1" fmla="*/ 9136 w 10000"/>
              <a:gd name="connsiteY1" fmla="*/ 3890 h 10000"/>
              <a:gd name="connsiteX2" fmla="*/ 8028 w 10000"/>
              <a:gd name="connsiteY2" fmla="*/ 2766 h 10000"/>
              <a:gd name="connsiteX3" fmla="*/ 6716 w 10000"/>
              <a:gd name="connsiteY3" fmla="*/ 1884 h 10000"/>
              <a:gd name="connsiteX4" fmla="*/ 5359 w 10000"/>
              <a:gd name="connsiteY4" fmla="*/ 1252 h 10000"/>
              <a:gd name="connsiteX5" fmla="*/ 5035 w 10000"/>
              <a:gd name="connsiteY5" fmla="*/ 1124 h 10000"/>
              <a:gd name="connsiteX6" fmla="*/ 4888 w 10000"/>
              <a:gd name="connsiteY6" fmla="*/ 1070 h 10000"/>
              <a:gd name="connsiteX7" fmla="*/ 4822 w 10000"/>
              <a:gd name="connsiteY7" fmla="*/ 1050 h 10000"/>
              <a:gd name="connsiteX8" fmla="*/ 4785 w 10000"/>
              <a:gd name="connsiteY8" fmla="*/ 1036 h 10000"/>
              <a:gd name="connsiteX9" fmla="*/ 4730 w 10000"/>
              <a:gd name="connsiteY9" fmla="*/ 1016 h 10000"/>
              <a:gd name="connsiteX10" fmla="*/ 4138 w 10000"/>
              <a:gd name="connsiteY10" fmla="*/ 834 h 10000"/>
              <a:gd name="connsiteX11" fmla="*/ 3603 w 10000"/>
              <a:gd name="connsiteY11" fmla="*/ 693 h 10000"/>
              <a:gd name="connsiteX12" fmla="*/ 3178 w 10000"/>
              <a:gd name="connsiteY12" fmla="*/ 606 h 10000"/>
              <a:gd name="connsiteX13" fmla="*/ 3326 w 10000"/>
              <a:gd name="connsiteY13" fmla="*/ 0 h 10000"/>
              <a:gd name="connsiteX14" fmla="*/ 0 w 10000"/>
              <a:gd name="connsiteY14" fmla="*/ 875 h 10000"/>
              <a:gd name="connsiteX15" fmla="*/ 2697 w 10000"/>
              <a:gd name="connsiteY15" fmla="*/ 2530 h 10000"/>
              <a:gd name="connsiteX16" fmla="*/ 2864 w 10000"/>
              <a:gd name="connsiteY16" fmla="*/ 1864 h 10000"/>
              <a:gd name="connsiteX17" fmla="*/ 3132 w 10000"/>
              <a:gd name="connsiteY17" fmla="*/ 1904 h 10000"/>
              <a:gd name="connsiteX18" fmla="*/ 3594 w 10000"/>
              <a:gd name="connsiteY18" fmla="*/ 1992 h 10000"/>
              <a:gd name="connsiteX19" fmla="*/ 4120 w 10000"/>
              <a:gd name="connsiteY19" fmla="*/ 2113 h 10000"/>
              <a:gd name="connsiteX20" fmla="*/ 4129 w 10000"/>
              <a:gd name="connsiteY20" fmla="*/ 2113 h 10000"/>
              <a:gd name="connsiteX21" fmla="*/ 4138 w 10000"/>
              <a:gd name="connsiteY21" fmla="*/ 2120 h 10000"/>
              <a:gd name="connsiteX22" fmla="*/ 4129 w 10000"/>
              <a:gd name="connsiteY22" fmla="*/ 2113 h 10000"/>
              <a:gd name="connsiteX23" fmla="*/ 4138 w 10000"/>
              <a:gd name="connsiteY23" fmla="*/ 2113 h 10000"/>
              <a:gd name="connsiteX24" fmla="*/ 4176 w 10000"/>
              <a:gd name="connsiteY24" fmla="*/ 2127 h 10000"/>
              <a:gd name="connsiteX25" fmla="*/ 4250 w 10000"/>
              <a:gd name="connsiteY25" fmla="*/ 2147 h 10000"/>
              <a:gd name="connsiteX26" fmla="*/ 4407 w 10000"/>
              <a:gd name="connsiteY26" fmla="*/ 2187 h 10000"/>
              <a:gd name="connsiteX27" fmla="*/ 4693 w 10000"/>
              <a:gd name="connsiteY27" fmla="*/ 2275 h 10000"/>
              <a:gd name="connsiteX28" fmla="*/ 5904 w 10000"/>
              <a:gd name="connsiteY28" fmla="*/ 2732 h 10000"/>
              <a:gd name="connsiteX29" fmla="*/ 7123 w 10000"/>
              <a:gd name="connsiteY29" fmla="*/ 3405 h 10000"/>
              <a:gd name="connsiteX30" fmla="*/ 8203 w 10000"/>
              <a:gd name="connsiteY30" fmla="*/ 4307 h 10000"/>
              <a:gd name="connsiteX31" fmla="*/ 8962 w 10000"/>
              <a:gd name="connsiteY31" fmla="*/ 5404 h 10000"/>
              <a:gd name="connsiteX32" fmla="*/ 9211 w 10000"/>
              <a:gd name="connsiteY32" fmla="*/ 6615 h 10000"/>
              <a:gd name="connsiteX33" fmla="*/ 9100 w 10000"/>
              <a:gd name="connsiteY33" fmla="*/ 7214 h 10000"/>
              <a:gd name="connsiteX34" fmla="*/ 9054 w 10000"/>
              <a:gd name="connsiteY34" fmla="*/ 7355 h 10000"/>
              <a:gd name="connsiteX35" fmla="*/ 8989 w 10000"/>
              <a:gd name="connsiteY35" fmla="*/ 7497 h 10000"/>
              <a:gd name="connsiteX36" fmla="*/ 8971 w 10000"/>
              <a:gd name="connsiteY36" fmla="*/ 7537 h 10000"/>
              <a:gd name="connsiteX37" fmla="*/ 8971 w 10000"/>
              <a:gd name="connsiteY37" fmla="*/ 7544 h 10000"/>
              <a:gd name="connsiteX38" fmla="*/ 8971 w 10000"/>
              <a:gd name="connsiteY38" fmla="*/ 7550 h 10000"/>
              <a:gd name="connsiteX39" fmla="*/ 8971 w 10000"/>
              <a:gd name="connsiteY39" fmla="*/ 7544 h 10000"/>
              <a:gd name="connsiteX40" fmla="*/ 8962 w 10000"/>
              <a:gd name="connsiteY40" fmla="*/ 7564 h 10000"/>
              <a:gd name="connsiteX41" fmla="*/ 8915 w 10000"/>
              <a:gd name="connsiteY41" fmla="*/ 7638 h 10000"/>
              <a:gd name="connsiteX42" fmla="*/ 8841 w 10000"/>
              <a:gd name="connsiteY42" fmla="*/ 7779 h 10000"/>
              <a:gd name="connsiteX43" fmla="*/ 8665 w 10000"/>
              <a:gd name="connsiteY43" fmla="*/ 8035 h 10000"/>
              <a:gd name="connsiteX44" fmla="*/ 8454 w 10000"/>
              <a:gd name="connsiteY44" fmla="*/ 8284 h 10000"/>
              <a:gd name="connsiteX45" fmla="*/ 8223 w 10000"/>
              <a:gd name="connsiteY45" fmla="*/ 8513 h 10000"/>
              <a:gd name="connsiteX46" fmla="*/ 7963 w 10000"/>
              <a:gd name="connsiteY46" fmla="*/ 8715 h 10000"/>
              <a:gd name="connsiteX47" fmla="*/ 6828 w 10000"/>
              <a:gd name="connsiteY47" fmla="*/ 9361 h 10000"/>
              <a:gd name="connsiteX48" fmla="*/ 5709 w 10000"/>
              <a:gd name="connsiteY48" fmla="*/ 9731 h 10000"/>
              <a:gd name="connsiteX49" fmla="*/ 5211 w 10000"/>
              <a:gd name="connsiteY49" fmla="*/ 9838 h 10000"/>
              <a:gd name="connsiteX50" fmla="*/ 4776 w 10000"/>
              <a:gd name="connsiteY50" fmla="*/ 9913 h 10000"/>
              <a:gd name="connsiteX51" fmla="*/ 4426 w 10000"/>
              <a:gd name="connsiteY51" fmla="*/ 9960 h 10000"/>
              <a:gd name="connsiteX52" fmla="*/ 4166 w 10000"/>
              <a:gd name="connsiteY52" fmla="*/ 9980 h 10000"/>
              <a:gd name="connsiteX53" fmla="*/ 3945 w 10000"/>
              <a:gd name="connsiteY53" fmla="*/ 10000 h 10000"/>
              <a:gd name="connsiteX54" fmla="*/ 6966 w 10000"/>
              <a:gd name="connsiteY54" fmla="*/ 9542 h 10000"/>
              <a:gd name="connsiteX55" fmla="*/ 8259 w 10000"/>
              <a:gd name="connsiteY55" fmla="*/ 8943 h 10000"/>
              <a:gd name="connsiteX56" fmla="*/ 9367 w 10000"/>
              <a:gd name="connsiteY56" fmla="*/ 7961 h 10000"/>
              <a:gd name="connsiteX57" fmla="*/ 9470 w 10000"/>
              <a:gd name="connsiteY57" fmla="*/ 7820 h 10000"/>
              <a:gd name="connsiteX58" fmla="*/ 9516 w 10000"/>
              <a:gd name="connsiteY58" fmla="*/ 7752 h 10000"/>
              <a:gd name="connsiteX59" fmla="*/ 9534 w 10000"/>
              <a:gd name="connsiteY59" fmla="*/ 7732 h 10000"/>
              <a:gd name="connsiteX60" fmla="*/ 9552 w 10000"/>
              <a:gd name="connsiteY60" fmla="*/ 7705 h 10000"/>
              <a:gd name="connsiteX61" fmla="*/ 9571 w 10000"/>
              <a:gd name="connsiteY61" fmla="*/ 7665 h 10000"/>
              <a:gd name="connsiteX62" fmla="*/ 9664 w 10000"/>
              <a:gd name="connsiteY62" fmla="*/ 7510 h 10000"/>
              <a:gd name="connsiteX63" fmla="*/ 9737 w 10000"/>
              <a:gd name="connsiteY63" fmla="*/ 7342 h 10000"/>
              <a:gd name="connsiteX64" fmla="*/ 9959 w 10000"/>
              <a:gd name="connsiteY64" fmla="*/ 6662 h 10000"/>
              <a:gd name="connsiteX65" fmla="*/ 9848 w 10000"/>
              <a:gd name="connsiteY65" fmla="*/ 5229 h 10000"/>
              <a:gd name="connsiteX0" fmla="*/ 9848 w 10000"/>
              <a:gd name="connsiteY0" fmla="*/ 5229 h 9980"/>
              <a:gd name="connsiteX1" fmla="*/ 9136 w 10000"/>
              <a:gd name="connsiteY1" fmla="*/ 3890 h 9980"/>
              <a:gd name="connsiteX2" fmla="*/ 8028 w 10000"/>
              <a:gd name="connsiteY2" fmla="*/ 2766 h 9980"/>
              <a:gd name="connsiteX3" fmla="*/ 6716 w 10000"/>
              <a:gd name="connsiteY3" fmla="*/ 1884 h 9980"/>
              <a:gd name="connsiteX4" fmla="*/ 5359 w 10000"/>
              <a:gd name="connsiteY4" fmla="*/ 1252 h 9980"/>
              <a:gd name="connsiteX5" fmla="*/ 5035 w 10000"/>
              <a:gd name="connsiteY5" fmla="*/ 1124 h 9980"/>
              <a:gd name="connsiteX6" fmla="*/ 4888 w 10000"/>
              <a:gd name="connsiteY6" fmla="*/ 1070 h 9980"/>
              <a:gd name="connsiteX7" fmla="*/ 4822 w 10000"/>
              <a:gd name="connsiteY7" fmla="*/ 1050 h 9980"/>
              <a:gd name="connsiteX8" fmla="*/ 4785 w 10000"/>
              <a:gd name="connsiteY8" fmla="*/ 1036 h 9980"/>
              <a:gd name="connsiteX9" fmla="*/ 4730 w 10000"/>
              <a:gd name="connsiteY9" fmla="*/ 1016 h 9980"/>
              <a:gd name="connsiteX10" fmla="*/ 4138 w 10000"/>
              <a:gd name="connsiteY10" fmla="*/ 834 h 9980"/>
              <a:gd name="connsiteX11" fmla="*/ 3603 w 10000"/>
              <a:gd name="connsiteY11" fmla="*/ 693 h 9980"/>
              <a:gd name="connsiteX12" fmla="*/ 3178 w 10000"/>
              <a:gd name="connsiteY12" fmla="*/ 606 h 9980"/>
              <a:gd name="connsiteX13" fmla="*/ 3326 w 10000"/>
              <a:gd name="connsiteY13" fmla="*/ 0 h 9980"/>
              <a:gd name="connsiteX14" fmla="*/ 0 w 10000"/>
              <a:gd name="connsiteY14" fmla="*/ 875 h 9980"/>
              <a:gd name="connsiteX15" fmla="*/ 2697 w 10000"/>
              <a:gd name="connsiteY15" fmla="*/ 2530 h 9980"/>
              <a:gd name="connsiteX16" fmla="*/ 2864 w 10000"/>
              <a:gd name="connsiteY16" fmla="*/ 1864 h 9980"/>
              <a:gd name="connsiteX17" fmla="*/ 3132 w 10000"/>
              <a:gd name="connsiteY17" fmla="*/ 1904 h 9980"/>
              <a:gd name="connsiteX18" fmla="*/ 3594 w 10000"/>
              <a:gd name="connsiteY18" fmla="*/ 1992 h 9980"/>
              <a:gd name="connsiteX19" fmla="*/ 4120 w 10000"/>
              <a:gd name="connsiteY19" fmla="*/ 2113 h 9980"/>
              <a:gd name="connsiteX20" fmla="*/ 4129 w 10000"/>
              <a:gd name="connsiteY20" fmla="*/ 2113 h 9980"/>
              <a:gd name="connsiteX21" fmla="*/ 4138 w 10000"/>
              <a:gd name="connsiteY21" fmla="*/ 2120 h 9980"/>
              <a:gd name="connsiteX22" fmla="*/ 4129 w 10000"/>
              <a:gd name="connsiteY22" fmla="*/ 2113 h 9980"/>
              <a:gd name="connsiteX23" fmla="*/ 4138 w 10000"/>
              <a:gd name="connsiteY23" fmla="*/ 2113 h 9980"/>
              <a:gd name="connsiteX24" fmla="*/ 4176 w 10000"/>
              <a:gd name="connsiteY24" fmla="*/ 2127 h 9980"/>
              <a:gd name="connsiteX25" fmla="*/ 4250 w 10000"/>
              <a:gd name="connsiteY25" fmla="*/ 2147 h 9980"/>
              <a:gd name="connsiteX26" fmla="*/ 4407 w 10000"/>
              <a:gd name="connsiteY26" fmla="*/ 2187 h 9980"/>
              <a:gd name="connsiteX27" fmla="*/ 4693 w 10000"/>
              <a:gd name="connsiteY27" fmla="*/ 2275 h 9980"/>
              <a:gd name="connsiteX28" fmla="*/ 5904 w 10000"/>
              <a:gd name="connsiteY28" fmla="*/ 2732 h 9980"/>
              <a:gd name="connsiteX29" fmla="*/ 7123 w 10000"/>
              <a:gd name="connsiteY29" fmla="*/ 3405 h 9980"/>
              <a:gd name="connsiteX30" fmla="*/ 8203 w 10000"/>
              <a:gd name="connsiteY30" fmla="*/ 4307 h 9980"/>
              <a:gd name="connsiteX31" fmla="*/ 8962 w 10000"/>
              <a:gd name="connsiteY31" fmla="*/ 5404 h 9980"/>
              <a:gd name="connsiteX32" fmla="*/ 9211 w 10000"/>
              <a:gd name="connsiteY32" fmla="*/ 6615 h 9980"/>
              <a:gd name="connsiteX33" fmla="*/ 9100 w 10000"/>
              <a:gd name="connsiteY33" fmla="*/ 7214 h 9980"/>
              <a:gd name="connsiteX34" fmla="*/ 9054 w 10000"/>
              <a:gd name="connsiteY34" fmla="*/ 7355 h 9980"/>
              <a:gd name="connsiteX35" fmla="*/ 8989 w 10000"/>
              <a:gd name="connsiteY35" fmla="*/ 7497 h 9980"/>
              <a:gd name="connsiteX36" fmla="*/ 8971 w 10000"/>
              <a:gd name="connsiteY36" fmla="*/ 7537 h 9980"/>
              <a:gd name="connsiteX37" fmla="*/ 8971 w 10000"/>
              <a:gd name="connsiteY37" fmla="*/ 7544 h 9980"/>
              <a:gd name="connsiteX38" fmla="*/ 8971 w 10000"/>
              <a:gd name="connsiteY38" fmla="*/ 7550 h 9980"/>
              <a:gd name="connsiteX39" fmla="*/ 8971 w 10000"/>
              <a:gd name="connsiteY39" fmla="*/ 7544 h 9980"/>
              <a:gd name="connsiteX40" fmla="*/ 8962 w 10000"/>
              <a:gd name="connsiteY40" fmla="*/ 7564 h 9980"/>
              <a:gd name="connsiteX41" fmla="*/ 8915 w 10000"/>
              <a:gd name="connsiteY41" fmla="*/ 7638 h 9980"/>
              <a:gd name="connsiteX42" fmla="*/ 8841 w 10000"/>
              <a:gd name="connsiteY42" fmla="*/ 7779 h 9980"/>
              <a:gd name="connsiteX43" fmla="*/ 8665 w 10000"/>
              <a:gd name="connsiteY43" fmla="*/ 8035 h 9980"/>
              <a:gd name="connsiteX44" fmla="*/ 8454 w 10000"/>
              <a:gd name="connsiteY44" fmla="*/ 8284 h 9980"/>
              <a:gd name="connsiteX45" fmla="*/ 8223 w 10000"/>
              <a:gd name="connsiteY45" fmla="*/ 8513 h 9980"/>
              <a:gd name="connsiteX46" fmla="*/ 7963 w 10000"/>
              <a:gd name="connsiteY46" fmla="*/ 8715 h 9980"/>
              <a:gd name="connsiteX47" fmla="*/ 6828 w 10000"/>
              <a:gd name="connsiteY47" fmla="*/ 9361 h 9980"/>
              <a:gd name="connsiteX48" fmla="*/ 5709 w 10000"/>
              <a:gd name="connsiteY48" fmla="*/ 9731 h 9980"/>
              <a:gd name="connsiteX49" fmla="*/ 5211 w 10000"/>
              <a:gd name="connsiteY49" fmla="*/ 9838 h 9980"/>
              <a:gd name="connsiteX50" fmla="*/ 4776 w 10000"/>
              <a:gd name="connsiteY50" fmla="*/ 9913 h 9980"/>
              <a:gd name="connsiteX51" fmla="*/ 4426 w 10000"/>
              <a:gd name="connsiteY51" fmla="*/ 9960 h 9980"/>
              <a:gd name="connsiteX52" fmla="*/ 4166 w 10000"/>
              <a:gd name="connsiteY52" fmla="*/ 9980 h 9980"/>
              <a:gd name="connsiteX53" fmla="*/ 6966 w 10000"/>
              <a:gd name="connsiteY53" fmla="*/ 9542 h 9980"/>
              <a:gd name="connsiteX54" fmla="*/ 8259 w 10000"/>
              <a:gd name="connsiteY54" fmla="*/ 8943 h 9980"/>
              <a:gd name="connsiteX55" fmla="*/ 9367 w 10000"/>
              <a:gd name="connsiteY55" fmla="*/ 7961 h 9980"/>
              <a:gd name="connsiteX56" fmla="*/ 9470 w 10000"/>
              <a:gd name="connsiteY56" fmla="*/ 7820 h 9980"/>
              <a:gd name="connsiteX57" fmla="*/ 9516 w 10000"/>
              <a:gd name="connsiteY57" fmla="*/ 7752 h 9980"/>
              <a:gd name="connsiteX58" fmla="*/ 9534 w 10000"/>
              <a:gd name="connsiteY58" fmla="*/ 7732 h 9980"/>
              <a:gd name="connsiteX59" fmla="*/ 9552 w 10000"/>
              <a:gd name="connsiteY59" fmla="*/ 7705 h 9980"/>
              <a:gd name="connsiteX60" fmla="*/ 9571 w 10000"/>
              <a:gd name="connsiteY60" fmla="*/ 7665 h 9980"/>
              <a:gd name="connsiteX61" fmla="*/ 9664 w 10000"/>
              <a:gd name="connsiteY61" fmla="*/ 7510 h 9980"/>
              <a:gd name="connsiteX62" fmla="*/ 9737 w 10000"/>
              <a:gd name="connsiteY62" fmla="*/ 7342 h 9980"/>
              <a:gd name="connsiteX63" fmla="*/ 9959 w 10000"/>
              <a:gd name="connsiteY63" fmla="*/ 6662 h 9980"/>
              <a:gd name="connsiteX64" fmla="*/ 9848 w 10000"/>
              <a:gd name="connsiteY64" fmla="*/ 5229 h 9980"/>
              <a:gd name="connsiteX0" fmla="*/ 9848 w 10000"/>
              <a:gd name="connsiteY0" fmla="*/ 5239 h 10000"/>
              <a:gd name="connsiteX1" fmla="*/ 9136 w 10000"/>
              <a:gd name="connsiteY1" fmla="*/ 3898 h 10000"/>
              <a:gd name="connsiteX2" fmla="*/ 8028 w 10000"/>
              <a:gd name="connsiteY2" fmla="*/ 2772 h 10000"/>
              <a:gd name="connsiteX3" fmla="*/ 6716 w 10000"/>
              <a:gd name="connsiteY3" fmla="*/ 1888 h 10000"/>
              <a:gd name="connsiteX4" fmla="*/ 5359 w 10000"/>
              <a:gd name="connsiteY4" fmla="*/ 1255 h 10000"/>
              <a:gd name="connsiteX5" fmla="*/ 5035 w 10000"/>
              <a:gd name="connsiteY5" fmla="*/ 1126 h 10000"/>
              <a:gd name="connsiteX6" fmla="*/ 4888 w 10000"/>
              <a:gd name="connsiteY6" fmla="*/ 1072 h 10000"/>
              <a:gd name="connsiteX7" fmla="*/ 4822 w 10000"/>
              <a:gd name="connsiteY7" fmla="*/ 1052 h 10000"/>
              <a:gd name="connsiteX8" fmla="*/ 4785 w 10000"/>
              <a:gd name="connsiteY8" fmla="*/ 1038 h 10000"/>
              <a:gd name="connsiteX9" fmla="*/ 4730 w 10000"/>
              <a:gd name="connsiteY9" fmla="*/ 1018 h 10000"/>
              <a:gd name="connsiteX10" fmla="*/ 4138 w 10000"/>
              <a:gd name="connsiteY10" fmla="*/ 836 h 10000"/>
              <a:gd name="connsiteX11" fmla="*/ 3603 w 10000"/>
              <a:gd name="connsiteY11" fmla="*/ 694 h 10000"/>
              <a:gd name="connsiteX12" fmla="*/ 3178 w 10000"/>
              <a:gd name="connsiteY12" fmla="*/ 607 h 10000"/>
              <a:gd name="connsiteX13" fmla="*/ 3326 w 10000"/>
              <a:gd name="connsiteY13" fmla="*/ 0 h 10000"/>
              <a:gd name="connsiteX14" fmla="*/ 0 w 10000"/>
              <a:gd name="connsiteY14" fmla="*/ 877 h 10000"/>
              <a:gd name="connsiteX15" fmla="*/ 2697 w 10000"/>
              <a:gd name="connsiteY15" fmla="*/ 2535 h 10000"/>
              <a:gd name="connsiteX16" fmla="*/ 2864 w 10000"/>
              <a:gd name="connsiteY16" fmla="*/ 1868 h 10000"/>
              <a:gd name="connsiteX17" fmla="*/ 3132 w 10000"/>
              <a:gd name="connsiteY17" fmla="*/ 1908 h 10000"/>
              <a:gd name="connsiteX18" fmla="*/ 3594 w 10000"/>
              <a:gd name="connsiteY18" fmla="*/ 1996 h 10000"/>
              <a:gd name="connsiteX19" fmla="*/ 4120 w 10000"/>
              <a:gd name="connsiteY19" fmla="*/ 2117 h 10000"/>
              <a:gd name="connsiteX20" fmla="*/ 4129 w 10000"/>
              <a:gd name="connsiteY20" fmla="*/ 2117 h 10000"/>
              <a:gd name="connsiteX21" fmla="*/ 4138 w 10000"/>
              <a:gd name="connsiteY21" fmla="*/ 2124 h 10000"/>
              <a:gd name="connsiteX22" fmla="*/ 4129 w 10000"/>
              <a:gd name="connsiteY22" fmla="*/ 2117 h 10000"/>
              <a:gd name="connsiteX23" fmla="*/ 4138 w 10000"/>
              <a:gd name="connsiteY23" fmla="*/ 2117 h 10000"/>
              <a:gd name="connsiteX24" fmla="*/ 4176 w 10000"/>
              <a:gd name="connsiteY24" fmla="*/ 2131 h 10000"/>
              <a:gd name="connsiteX25" fmla="*/ 4250 w 10000"/>
              <a:gd name="connsiteY25" fmla="*/ 2151 h 10000"/>
              <a:gd name="connsiteX26" fmla="*/ 4407 w 10000"/>
              <a:gd name="connsiteY26" fmla="*/ 2191 h 10000"/>
              <a:gd name="connsiteX27" fmla="*/ 4693 w 10000"/>
              <a:gd name="connsiteY27" fmla="*/ 2280 h 10000"/>
              <a:gd name="connsiteX28" fmla="*/ 5904 w 10000"/>
              <a:gd name="connsiteY28" fmla="*/ 2737 h 10000"/>
              <a:gd name="connsiteX29" fmla="*/ 7123 w 10000"/>
              <a:gd name="connsiteY29" fmla="*/ 3412 h 10000"/>
              <a:gd name="connsiteX30" fmla="*/ 8203 w 10000"/>
              <a:gd name="connsiteY30" fmla="*/ 4316 h 10000"/>
              <a:gd name="connsiteX31" fmla="*/ 8962 w 10000"/>
              <a:gd name="connsiteY31" fmla="*/ 5415 h 10000"/>
              <a:gd name="connsiteX32" fmla="*/ 9211 w 10000"/>
              <a:gd name="connsiteY32" fmla="*/ 6628 h 10000"/>
              <a:gd name="connsiteX33" fmla="*/ 9100 w 10000"/>
              <a:gd name="connsiteY33" fmla="*/ 7228 h 10000"/>
              <a:gd name="connsiteX34" fmla="*/ 9054 w 10000"/>
              <a:gd name="connsiteY34" fmla="*/ 7370 h 10000"/>
              <a:gd name="connsiteX35" fmla="*/ 8989 w 10000"/>
              <a:gd name="connsiteY35" fmla="*/ 7512 h 10000"/>
              <a:gd name="connsiteX36" fmla="*/ 8971 w 10000"/>
              <a:gd name="connsiteY36" fmla="*/ 7552 h 10000"/>
              <a:gd name="connsiteX37" fmla="*/ 8971 w 10000"/>
              <a:gd name="connsiteY37" fmla="*/ 7559 h 10000"/>
              <a:gd name="connsiteX38" fmla="*/ 8971 w 10000"/>
              <a:gd name="connsiteY38" fmla="*/ 7565 h 10000"/>
              <a:gd name="connsiteX39" fmla="*/ 8971 w 10000"/>
              <a:gd name="connsiteY39" fmla="*/ 7559 h 10000"/>
              <a:gd name="connsiteX40" fmla="*/ 8962 w 10000"/>
              <a:gd name="connsiteY40" fmla="*/ 7579 h 10000"/>
              <a:gd name="connsiteX41" fmla="*/ 8915 w 10000"/>
              <a:gd name="connsiteY41" fmla="*/ 7653 h 10000"/>
              <a:gd name="connsiteX42" fmla="*/ 8841 w 10000"/>
              <a:gd name="connsiteY42" fmla="*/ 7795 h 10000"/>
              <a:gd name="connsiteX43" fmla="*/ 8665 w 10000"/>
              <a:gd name="connsiteY43" fmla="*/ 8051 h 10000"/>
              <a:gd name="connsiteX44" fmla="*/ 8454 w 10000"/>
              <a:gd name="connsiteY44" fmla="*/ 8301 h 10000"/>
              <a:gd name="connsiteX45" fmla="*/ 8223 w 10000"/>
              <a:gd name="connsiteY45" fmla="*/ 8530 h 10000"/>
              <a:gd name="connsiteX46" fmla="*/ 7963 w 10000"/>
              <a:gd name="connsiteY46" fmla="*/ 8732 h 10000"/>
              <a:gd name="connsiteX47" fmla="*/ 6828 w 10000"/>
              <a:gd name="connsiteY47" fmla="*/ 9380 h 10000"/>
              <a:gd name="connsiteX48" fmla="*/ 5709 w 10000"/>
              <a:gd name="connsiteY48" fmla="*/ 9751 h 10000"/>
              <a:gd name="connsiteX49" fmla="*/ 5211 w 10000"/>
              <a:gd name="connsiteY49" fmla="*/ 9858 h 10000"/>
              <a:gd name="connsiteX50" fmla="*/ 4776 w 10000"/>
              <a:gd name="connsiteY50" fmla="*/ 9933 h 10000"/>
              <a:gd name="connsiteX51" fmla="*/ 4426 w 10000"/>
              <a:gd name="connsiteY51" fmla="*/ 9980 h 10000"/>
              <a:gd name="connsiteX52" fmla="*/ 6966 w 10000"/>
              <a:gd name="connsiteY52" fmla="*/ 9561 h 10000"/>
              <a:gd name="connsiteX53" fmla="*/ 8259 w 10000"/>
              <a:gd name="connsiteY53" fmla="*/ 8961 h 10000"/>
              <a:gd name="connsiteX54" fmla="*/ 9367 w 10000"/>
              <a:gd name="connsiteY54" fmla="*/ 7977 h 10000"/>
              <a:gd name="connsiteX55" fmla="*/ 9470 w 10000"/>
              <a:gd name="connsiteY55" fmla="*/ 7836 h 10000"/>
              <a:gd name="connsiteX56" fmla="*/ 9516 w 10000"/>
              <a:gd name="connsiteY56" fmla="*/ 7768 h 10000"/>
              <a:gd name="connsiteX57" fmla="*/ 9534 w 10000"/>
              <a:gd name="connsiteY57" fmla="*/ 7747 h 10000"/>
              <a:gd name="connsiteX58" fmla="*/ 9552 w 10000"/>
              <a:gd name="connsiteY58" fmla="*/ 7720 h 10000"/>
              <a:gd name="connsiteX59" fmla="*/ 9571 w 10000"/>
              <a:gd name="connsiteY59" fmla="*/ 7680 h 10000"/>
              <a:gd name="connsiteX60" fmla="*/ 9664 w 10000"/>
              <a:gd name="connsiteY60" fmla="*/ 7525 h 10000"/>
              <a:gd name="connsiteX61" fmla="*/ 9737 w 10000"/>
              <a:gd name="connsiteY61" fmla="*/ 7357 h 10000"/>
              <a:gd name="connsiteX62" fmla="*/ 9959 w 10000"/>
              <a:gd name="connsiteY62" fmla="*/ 6675 h 10000"/>
              <a:gd name="connsiteX63" fmla="*/ 9848 w 10000"/>
              <a:gd name="connsiteY63" fmla="*/ 5239 h 10000"/>
              <a:gd name="connsiteX0" fmla="*/ 9848 w 10000"/>
              <a:gd name="connsiteY0" fmla="*/ 5239 h 9933"/>
              <a:gd name="connsiteX1" fmla="*/ 9136 w 10000"/>
              <a:gd name="connsiteY1" fmla="*/ 3898 h 9933"/>
              <a:gd name="connsiteX2" fmla="*/ 8028 w 10000"/>
              <a:gd name="connsiteY2" fmla="*/ 2772 h 9933"/>
              <a:gd name="connsiteX3" fmla="*/ 6716 w 10000"/>
              <a:gd name="connsiteY3" fmla="*/ 1888 h 9933"/>
              <a:gd name="connsiteX4" fmla="*/ 5359 w 10000"/>
              <a:gd name="connsiteY4" fmla="*/ 1255 h 9933"/>
              <a:gd name="connsiteX5" fmla="*/ 5035 w 10000"/>
              <a:gd name="connsiteY5" fmla="*/ 1126 h 9933"/>
              <a:gd name="connsiteX6" fmla="*/ 4888 w 10000"/>
              <a:gd name="connsiteY6" fmla="*/ 1072 h 9933"/>
              <a:gd name="connsiteX7" fmla="*/ 4822 w 10000"/>
              <a:gd name="connsiteY7" fmla="*/ 1052 h 9933"/>
              <a:gd name="connsiteX8" fmla="*/ 4785 w 10000"/>
              <a:gd name="connsiteY8" fmla="*/ 1038 h 9933"/>
              <a:gd name="connsiteX9" fmla="*/ 4730 w 10000"/>
              <a:gd name="connsiteY9" fmla="*/ 1018 h 9933"/>
              <a:gd name="connsiteX10" fmla="*/ 4138 w 10000"/>
              <a:gd name="connsiteY10" fmla="*/ 836 h 9933"/>
              <a:gd name="connsiteX11" fmla="*/ 3603 w 10000"/>
              <a:gd name="connsiteY11" fmla="*/ 694 h 9933"/>
              <a:gd name="connsiteX12" fmla="*/ 3178 w 10000"/>
              <a:gd name="connsiteY12" fmla="*/ 607 h 9933"/>
              <a:gd name="connsiteX13" fmla="*/ 3326 w 10000"/>
              <a:gd name="connsiteY13" fmla="*/ 0 h 9933"/>
              <a:gd name="connsiteX14" fmla="*/ 0 w 10000"/>
              <a:gd name="connsiteY14" fmla="*/ 877 h 9933"/>
              <a:gd name="connsiteX15" fmla="*/ 2697 w 10000"/>
              <a:gd name="connsiteY15" fmla="*/ 2535 h 9933"/>
              <a:gd name="connsiteX16" fmla="*/ 2864 w 10000"/>
              <a:gd name="connsiteY16" fmla="*/ 1868 h 9933"/>
              <a:gd name="connsiteX17" fmla="*/ 3132 w 10000"/>
              <a:gd name="connsiteY17" fmla="*/ 1908 h 9933"/>
              <a:gd name="connsiteX18" fmla="*/ 3594 w 10000"/>
              <a:gd name="connsiteY18" fmla="*/ 1996 h 9933"/>
              <a:gd name="connsiteX19" fmla="*/ 4120 w 10000"/>
              <a:gd name="connsiteY19" fmla="*/ 2117 h 9933"/>
              <a:gd name="connsiteX20" fmla="*/ 4129 w 10000"/>
              <a:gd name="connsiteY20" fmla="*/ 2117 h 9933"/>
              <a:gd name="connsiteX21" fmla="*/ 4138 w 10000"/>
              <a:gd name="connsiteY21" fmla="*/ 2124 h 9933"/>
              <a:gd name="connsiteX22" fmla="*/ 4129 w 10000"/>
              <a:gd name="connsiteY22" fmla="*/ 2117 h 9933"/>
              <a:gd name="connsiteX23" fmla="*/ 4138 w 10000"/>
              <a:gd name="connsiteY23" fmla="*/ 2117 h 9933"/>
              <a:gd name="connsiteX24" fmla="*/ 4176 w 10000"/>
              <a:gd name="connsiteY24" fmla="*/ 2131 h 9933"/>
              <a:gd name="connsiteX25" fmla="*/ 4250 w 10000"/>
              <a:gd name="connsiteY25" fmla="*/ 2151 h 9933"/>
              <a:gd name="connsiteX26" fmla="*/ 4407 w 10000"/>
              <a:gd name="connsiteY26" fmla="*/ 2191 h 9933"/>
              <a:gd name="connsiteX27" fmla="*/ 4693 w 10000"/>
              <a:gd name="connsiteY27" fmla="*/ 2280 h 9933"/>
              <a:gd name="connsiteX28" fmla="*/ 5904 w 10000"/>
              <a:gd name="connsiteY28" fmla="*/ 2737 h 9933"/>
              <a:gd name="connsiteX29" fmla="*/ 7123 w 10000"/>
              <a:gd name="connsiteY29" fmla="*/ 3412 h 9933"/>
              <a:gd name="connsiteX30" fmla="*/ 8203 w 10000"/>
              <a:gd name="connsiteY30" fmla="*/ 4316 h 9933"/>
              <a:gd name="connsiteX31" fmla="*/ 8962 w 10000"/>
              <a:gd name="connsiteY31" fmla="*/ 5415 h 9933"/>
              <a:gd name="connsiteX32" fmla="*/ 9211 w 10000"/>
              <a:gd name="connsiteY32" fmla="*/ 6628 h 9933"/>
              <a:gd name="connsiteX33" fmla="*/ 9100 w 10000"/>
              <a:gd name="connsiteY33" fmla="*/ 7228 h 9933"/>
              <a:gd name="connsiteX34" fmla="*/ 9054 w 10000"/>
              <a:gd name="connsiteY34" fmla="*/ 7370 h 9933"/>
              <a:gd name="connsiteX35" fmla="*/ 8989 w 10000"/>
              <a:gd name="connsiteY35" fmla="*/ 7512 h 9933"/>
              <a:gd name="connsiteX36" fmla="*/ 8971 w 10000"/>
              <a:gd name="connsiteY36" fmla="*/ 7552 h 9933"/>
              <a:gd name="connsiteX37" fmla="*/ 8971 w 10000"/>
              <a:gd name="connsiteY37" fmla="*/ 7559 h 9933"/>
              <a:gd name="connsiteX38" fmla="*/ 8971 w 10000"/>
              <a:gd name="connsiteY38" fmla="*/ 7565 h 9933"/>
              <a:gd name="connsiteX39" fmla="*/ 8971 w 10000"/>
              <a:gd name="connsiteY39" fmla="*/ 7559 h 9933"/>
              <a:gd name="connsiteX40" fmla="*/ 8962 w 10000"/>
              <a:gd name="connsiteY40" fmla="*/ 7579 h 9933"/>
              <a:gd name="connsiteX41" fmla="*/ 8915 w 10000"/>
              <a:gd name="connsiteY41" fmla="*/ 7653 h 9933"/>
              <a:gd name="connsiteX42" fmla="*/ 8841 w 10000"/>
              <a:gd name="connsiteY42" fmla="*/ 7795 h 9933"/>
              <a:gd name="connsiteX43" fmla="*/ 8665 w 10000"/>
              <a:gd name="connsiteY43" fmla="*/ 8051 h 9933"/>
              <a:gd name="connsiteX44" fmla="*/ 8454 w 10000"/>
              <a:gd name="connsiteY44" fmla="*/ 8301 h 9933"/>
              <a:gd name="connsiteX45" fmla="*/ 8223 w 10000"/>
              <a:gd name="connsiteY45" fmla="*/ 8530 h 9933"/>
              <a:gd name="connsiteX46" fmla="*/ 7963 w 10000"/>
              <a:gd name="connsiteY46" fmla="*/ 8732 h 9933"/>
              <a:gd name="connsiteX47" fmla="*/ 6828 w 10000"/>
              <a:gd name="connsiteY47" fmla="*/ 9380 h 9933"/>
              <a:gd name="connsiteX48" fmla="*/ 5709 w 10000"/>
              <a:gd name="connsiteY48" fmla="*/ 9751 h 9933"/>
              <a:gd name="connsiteX49" fmla="*/ 5211 w 10000"/>
              <a:gd name="connsiteY49" fmla="*/ 9858 h 9933"/>
              <a:gd name="connsiteX50" fmla="*/ 4776 w 10000"/>
              <a:gd name="connsiteY50" fmla="*/ 9933 h 9933"/>
              <a:gd name="connsiteX51" fmla="*/ 6966 w 10000"/>
              <a:gd name="connsiteY51" fmla="*/ 9561 h 9933"/>
              <a:gd name="connsiteX52" fmla="*/ 8259 w 10000"/>
              <a:gd name="connsiteY52" fmla="*/ 8961 h 9933"/>
              <a:gd name="connsiteX53" fmla="*/ 9367 w 10000"/>
              <a:gd name="connsiteY53" fmla="*/ 7977 h 9933"/>
              <a:gd name="connsiteX54" fmla="*/ 9470 w 10000"/>
              <a:gd name="connsiteY54" fmla="*/ 7836 h 9933"/>
              <a:gd name="connsiteX55" fmla="*/ 9516 w 10000"/>
              <a:gd name="connsiteY55" fmla="*/ 7768 h 9933"/>
              <a:gd name="connsiteX56" fmla="*/ 9534 w 10000"/>
              <a:gd name="connsiteY56" fmla="*/ 7747 h 9933"/>
              <a:gd name="connsiteX57" fmla="*/ 9552 w 10000"/>
              <a:gd name="connsiteY57" fmla="*/ 7720 h 9933"/>
              <a:gd name="connsiteX58" fmla="*/ 9571 w 10000"/>
              <a:gd name="connsiteY58" fmla="*/ 7680 h 9933"/>
              <a:gd name="connsiteX59" fmla="*/ 9664 w 10000"/>
              <a:gd name="connsiteY59" fmla="*/ 7525 h 9933"/>
              <a:gd name="connsiteX60" fmla="*/ 9737 w 10000"/>
              <a:gd name="connsiteY60" fmla="*/ 7357 h 9933"/>
              <a:gd name="connsiteX61" fmla="*/ 9959 w 10000"/>
              <a:gd name="connsiteY61" fmla="*/ 6675 h 9933"/>
              <a:gd name="connsiteX62" fmla="*/ 9848 w 10000"/>
              <a:gd name="connsiteY62" fmla="*/ 5239 h 9933"/>
              <a:gd name="connsiteX0" fmla="*/ 9848 w 10000"/>
              <a:gd name="connsiteY0" fmla="*/ 5274 h 9924"/>
              <a:gd name="connsiteX1" fmla="*/ 9136 w 10000"/>
              <a:gd name="connsiteY1" fmla="*/ 3924 h 9924"/>
              <a:gd name="connsiteX2" fmla="*/ 8028 w 10000"/>
              <a:gd name="connsiteY2" fmla="*/ 2791 h 9924"/>
              <a:gd name="connsiteX3" fmla="*/ 6716 w 10000"/>
              <a:gd name="connsiteY3" fmla="*/ 1901 h 9924"/>
              <a:gd name="connsiteX4" fmla="*/ 5359 w 10000"/>
              <a:gd name="connsiteY4" fmla="*/ 1263 h 9924"/>
              <a:gd name="connsiteX5" fmla="*/ 5035 w 10000"/>
              <a:gd name="connsiteY5" fmla="*/ 1134 h 9924"/>
              <a:gd name="connsiteX6" fmla="*/ 4888 w 10000"/>
              <a:gd name="connsiteY6" fmla="*/ 1079 h 9924"/>
              <a:gd name="connsiteX7" fmla="*/ 4822 w 10000"/>
              <a:gd name="connsiteY7" fmla="*/ 1059 h 9924"/>
              <a:gd name="connsiteX8" fmla="*/ 4785 w 10000"/>
              <a:gd name="connsiteY8" fmla="*/ 1045 h 9924"/>
              <a:gd name="connsiteX9" fmla="*/ 4730 w 10000"/>
              <a:gd name="connsiteY9" fmla="*/ 1025 h 9924"/>
              <a:gd name="connsiteX10" fmla="*/ 4138 w 10000"/>
              <a:gd name="connsiteY10" fmla="*/ 842 h 9924"/>
              <a:gd name="connsiteX11" fmla="*/ 3603 w 10000"/>
              <a:gd name="connsiteY11" fmla="*/ 699 h 9924"/>
              <a:gd name="connsiteX12" fmla="*/ 3178 w 10000"/>
              <a:gd name="connsiteY12" fmla="*/ 611 h 9924"/>
              <a:gd name="connsiteX13" fmla="*/ 3326 w 10000"/>
              <a:gd name="connsiteY13" fmla="*/ 0 h 9924"/>
              <a:gd name="connsiteX14" fmla="*/ 0 w 10000"/>
              <a:gd name="connsiteY14" fmla="*/ 883 h 9924"/>
              <a:gd name="connsiteX15" fmla="*/ 2697 w 10000"/>
              <a:gd name="connsiteY15" fmla="*/ 2552 h 9924"/>
              <a:gd name="connsiteX16" fmla="*/ 2864 w 10000"/>
              <a:gd name="connsiteY16" fmla="*/ 1881 h 9924"/>
              <a:gd name="connsiteX17" fmla="*/ 3132 w 10000"/>
              <a:gd name="connsiteY17" fmla="*/ 1921 h 9924"/>
              <a:gd name="connsiteX18" fmla="*/ 3594 w 10000"/>
              <a:gd name="connsiteY18" fmla="*/ 2009 h 9924"/>
              <a:gd name="connsiteX19" fmla="*/ 4120 w 10000"/>
              <a:gd name="connsiteY19" fmla="*/ 2131 h 9924"/>
              <a:gd name="connsiteX20" fmla="*/ 4129 w 10000"/>
              <a:gd name="connsiteY20" fmla="*/ 2131 h 9924"/>
              <a:gd name="connsiteX21" fmla="*/ 4138 w 10000"/>
              <a:gd name="connsiteY21" fmla="*/ 2138 h 9924"/>
              <a:gd name="connsiteX22" fmla="*/ 4129 w 10000"/>
              <a:gd name="connsiteY22" fmla="*/ 2131 h 9924"/>
              <a:gd name="connsiteX23" fmla="*/ 4138 w 10000"/>
              <a:gd name="connsiteY23" fmla="*/ 2131 h 9924"/>
              <a:gd name="connsiteX24" fmla="*/ 4176 w 10000"/>
              <a:gd name="connsiteY24" fmla="*/ 2145 h 9924"/>
              <a:gd name="connsiteX25" fmla="*/ 4250 w 10000"/>
              <a:gd name="connsiteY25" fmla="*/ 2166 h 9924"/>
              <a:gd name="connsiteX26" fmla="*/ 4407 w 10000"/>
              <a:gd name="connsiteY26" fmla="*/ 2206 h 9924"/>
              <a:gd name="connsiteX27" fmla="*/ 4693 w 10000"/>
              <a:gd name="connsiteY27" fmla="*/ 2295 h 9924"/>
              <a:gd name="connsiteX28" fmla="*/ 5904 w 10000"/>
              <a:gd name="connsiteY28" fmla="*/ 2755 h 9924"/>
              <a:gd name="connsiteX29" fmla="*/ 7123 w 10000"/>
              <a:gd name="connsiteY29" fmla="*/ 3435 h 9924"/>
              <a:gd name="connsiteX30" fmla="*/ 8203 w 10000"/>
              <a:gd name="connsiteY30" fmla="*/ 4345 h 9924"/>
              <a:gd name="connsiteX31" fmla="*/ 8962 w 10000"/>
              <a:gd name="connsiteY31" fmla="*/ 5452 h 9924"/>
              <a:gd name="connsiteX32" fmla="*/ 9211 w 10000"/>
              <a:gd name="connsiteY32" fmla="*/ 6673 h 9924"/>
              <a:gd name="connsiteX33" fmla="*/ 9100 w 10000"/>
              <a:gd name="connsiteY33" fmla="*/ 7277 h 9924"/>
              <a:gd name="connsiteX34" fmla="*/ 9054 w 10000"/>
              <a:gd name="connsiteY34" fmla="*/ 7420 h 9924"/>
              <a:gd name="connsiteX35" fmla="*/ 8989 w 10000"/>
              <a:gd name="connsiteY35" fmla="*/ 7563 h 9924"/>
              <a:gd name="connsiteX36" fmla="*/ 8971 w 10000"/>
              <a:gd name="connsiteY36" fmla="*/ 7603 h 9924"/>
              <a:gd name="connsiteX37" fmla="*/ 8971 w 10000"/>
              <a:gd name="connsiteY37" fmla="*/ 7610 h 9924"/>
              <a:gd name="connsiteX38" fmla="*/ 8971 w 10000"/>
              <a:gd name="connsiteY38" fmla="*/ 7616 h 9924"/>
              <a:gd name="connsiteX39" fmla="*/ 8971 w 10000"/>
              <a:gd name="connsiteY39" fmla="*/ 7610 h 9924"/>
              <a:gd name="connsiteX40" fmla="*/ 8962 w 10000"/>
              <a:gd name="connsiteY40" fmla="*/ 7630 h 9924"/>
              <a:gd name="connsiteX41" fmla="*/ 8915 w 10000"/>
              <a:gd name="connsiteY41" fmla="*/ 7705 h 9924"/>
              <a:gd name="connsiteX42" fmla="*/ 8841 w 10000"/>
              <a:gd name="connsiteY42" fmla="*/ 7848 h 9924"/>
              <a:gd name="connsiteX43" fmla="*/ 8665 w 10000"/>
              <a:gd name="connsiteY43" fmla="*/ 8105 h 9924"/>
              <a:gd name="connsiteX44" fmla="*/ 8454 w 10000"/>
              <a:gd name="connsiteY44" fmla="*/ 8357 h 9924"/>
              <a:gd name="connsiteX45" fmla="*/ 8223 w 10000"/>
              <a:gd name="connsiteY45" fmla="*/ 8588 h 9924"/>
              <a:gd name="connsiteX46" fmla="*/ 7963 w 10000"/>
              <a:gd name="connsiteY46" fmla="*/ 8791 h 9924"/>
              <a:gd name="connsiteX47" fmla="*/ 6828 w 10000"/>
              <a:gd name="connsiteY47" fmla="*/ 9443 h 9924"/>
              <a:gd name="connsiteX48" fmla="*/ 5709 w 10000"/>
              <a:gd name="connsiteY48" fmla="*/ 9817 h 9924"/>
              <a:gd name="connsiteX49" fmla="*/ 5211 w 10000"/>
              <a:gd name="connsiteY49" fmla="*/ 9924 h 9924"/>
              <a:gd name="connsiteX50" fmla="*/ 6966 w 10000"/>
              <a:gd name="connsiteY50" fmla="*/ 9625 h 9924"/>
              <a:gd name="connsiteX51" fmla="*/ 8259 w 10000"/>
              <a:gd name="connsiteY51" fmla="*/ 9021 h 9924"/>
              <a:gd name="connsiteX52" fmla="*/ 9367 w 10000"/>
              <a:gd name="connsiteY52" fmla="*/ 8031 h 9924"/>
              <a:gd name="connsiteX53" fmla="*/ 9470 w 10000"/>
              <a:gd name="connsiteY53" fmla="*/ 7889 h 9924"/>
              <a:gd name="connsiteX54" fmla="*/ 9516 w 10000"/>
              <a:gd name="connsiteY54" fmla="*/ 7820 h 9924"/>
              <a:gd name="connsiteX55" fmla="*/ 9534 w 10000"/>
              <a:gd name="connsiteY55" fmla="*/ 7799 h 9924"/>
              <a:gd name="connsiteX56" fmla="*/ 9552 w 10000"/>
              <a:gd name="connsiteY56" fmla="*/ 7772 h 9924"/>
              <a:gd name="connsiteX57" fmla="*/ 9571 w 10000"/>
              <a:gd name="connsiteY57" fmla="*/ 7732 h 9924"/>
              <a:gd name="connsiteX58" fmla="*/ 9664 w 10000"/>
              <a:gd name="connsiteY58" fmla="*/ 7576 h 9924"/>
              <a:gd name="connsiteX59" fmla="*/ 9737 w 10000"/>
              <a:gd name="connsiteY59" fmla="*/ 7407 h 9924"/>
              <a:gd name="connsiteX60" fmla="*/ 9959 w 10000"/>
              <a:gd name="connsiteY60" fmla="*/ 6720 h 9924"/>
              <a:gd name="connsiteX61" fmla="*/ 9848 w 10000"/>
              <a:gd name="connsiteY61" fmla="*/ 5274 h 9924"/>
              <a:gd name="connsiteX0" fmla="*/ 9848 w 10000"/>
              <a:gd name="connsiteY0" fmla="*/ 5314 h 9898"/>
              <a:gd name="connsiteX1" fmla="*/ 9136 w 10000"/>
              <a:gd name="connsiteY1" fmla="*/ 3954 h 9898"/>
              <a:gd name="connsiteX2" fmla="*/ 8028 w 10000"/>
              <a:gd name="connsiteY2" fmla="*/ 2812 h 9898"/>
              <a:gd name="connsiteX3" fmla="*/ 6716 w 10000"/>
              <a:gd name="connsiteY3" fmla="*/ 1916 h 9898"/>
              <a:gd name="connsiteX4" fmla="*/ 5359 w 10000"/>
              <a:gd name="connsiteY4" fmla="*/ 1273 h 9898"/>
              <a:gd name="connsiteX5" fmla="*/ 5035 w 10000"/>
              <a:gd name="connsiteY5" fmla="*/ 1143 h 9898"/>
              <a:gd name="connsiteX6" fmla="*/ 4888 w 10000"/>
              <a:gd name="connsiteY6" fmla="*/ 1087 h 9898"/>
              <a:gd name="connsiteX7" fmla="*/ 4822 w 10000"/>
              <a:gd name="connsiteY7" fmla="*/ 1067 h 9898"/>
              <a:gd name="connsiteX8" fmla="*/ 4785 w 10000"/>
              <a:gd name="connsiteY8" fmla="*/ 1053 h 9898"/>
              <a:gd name="connsiteX9" fmla="*/ 4730 w 10000"/>
              <a:gd name="connsiteY9" fmla="*/ 1033 h 9898"/>
              <a:gd name="connsiteX10" fmla="*/ 4138 w 10000"/>
              <a:gd name="connsiteY10" fmla="*/ 848 h 9898"/>
              <a:gd name="connsiteX11" fmla="*/ 3603 w 10000"/>
              <a:gd name="connsiteY11" fmla="*/ 704 h 9898"/>
              <a:gd name="connsiteX12" fmla="*/ 3178 w 10000"/>
              <a:gd name="connsiteY12" fmla="*/ 616 h 9898"/>
              <a:gd name="connsiteX13" fmla="*/ 3326 w 10000"/>
              <a:gd name="connsiteY13" fmla="*/ 0 h 9898"/>
              <a:gd name="connsiteX14" fmla="*/ 0 w 10000"/>
              <a:gd name="connsiteY14" fmla="*/ 890 h 9898"/>
              <a:gd name="connsiteX15" fmla="*/ 2697 w 10000"/>
              <a:gd name="connsiteY15" fmla="*/ 2572 h 9898"/>
              <a:gd name="connsiteX16" fmla="*/ 2864 w 10000"/>
              <a:gd name="connsiteY16" fmla="*/ 1895 h 9898"/>
              <a:gd name="connsiteX17" fmla="*/ 3132 w 10000"/>
              <a:gd name="connsiteY17" fmla="*/ 1936 h 9898"/>
              <a:gd name="connsiteX18" fmla="*/ 3594 w 10000"/>
              <a:gd name="connsiteY18" fmla="*/ 2024 h 9898"/>
              <a:gd name="connsiteX19" fmla="*/ 4120 w 10000"/>
              <a:gd name="connsiteY19" fmla="*/ 2147 h 9898"/>
              <a:gd name="connsiteX20" fmla="*/ 4129 w 10000"/>
              <a:gd name="connsiteY20" fmla="*/ 2147 h 9898"/>
              <a:gd name="connsiteX21" fmla="*/ 4138 w 10000"/>
              <a:gd name="connsiteY21" fmla="*/ 2154 h 9898"/>
              <a:gd name="connsiteX22" fmla="*/ 4129 w 10000"/>
              <a:gd name="connsiteY22" fmla="*/ 2147 h 9898"/>
              <a:gd name="connsiteX23" fmla="*/ 4138 w 10000"/>
              <a:gd name="connsiteY23" fmla="*/ 2147 h 9898"/>
              <a:gd name="connsiteX24" fmla="*/ 4176 w 10000"/>
              <a:gd name="connsiteY24" fmla="*/ 2161 h 9898"/>
              <a:gd name="connsiteX25" fmla="*/ 4250 w 10000"/>
              <a:gd name="connsiteY25" fmla="*/ 2183 h 9898"/>
              <a:gd name="connsiteX26" fmla="*/ 4407 w 10000"/>
              <a:gd name="connsiteY26" fmla="*/ 2223 h 9898"/>
              <a:gd name="connsiteX27" fmla="*/ 4693 w 10000"/>
              <a:gd name="connsiteY27" fmla="*/ 2313 h 9898"/>
              <a:gd name="connsiteX28" fmla="*/ 5904 w 10000"/>
              <a:gd name="connsiteY28" fmla="*/ 2776 h 9898"/>
              <a:gd name="connsiteX29" fmla="*/ 7123 w 10000"/>
              <a:gd name="connsiteY29" fmla="*/ 3461 h 9898"/>
              <a:gd name="connsiteX30" fmla="*/ 8203 w 10000"/>
              <a:gd name="connsiteY30" fmla="*/ 4378 h 9898"/>
              <a:gd name="connsiteX31" fmla="*/ 8962 w 10000"/>
              <a:gd name="connsiteY31" fmla="*/ 5494 h 9898"/>
              <a:gd name="connsiteX32" fmla="*/ 9211 w 10000"/>
              <a:gd name="connsiteY32" fmla="*/ 6724 h 9898"/>
              <a:gd name="connsiteX33" fmla="*/ 9100 w 10000"/>
              <a:gd name="connsiteY33" fmla="*/ 7333 h 9898"/>
              <a:gd name="connsiteX34" fmla="*/ 9054 w 10000"/>
              <a:gd name="connsiteY34" fmla="*/ 7477 h 9898"/>
              <a:gd name="connsiteX35" fmla="*/ 8989 w 10000"/>
              <a:gd name="connsiteY35" fmla="*/ 7621 h 9898"/>
              <a:gd name="connsiteX36" fmla="*/ 8971 w 10000"/>
              <a:gd name="connsiteY36" fmla="*/ 7661 h 9898"/>
              <a:gd name="connsiteX37" fmla="*/ 8971 w 10000"/>
              <a:gd name="connsiteY37" fmla="*/ 7668 h 9898"/>
              <a:gd name="connsiteX38" fmla="*/ 8971 w 10000"/>
              <a:gd name="connsiteY38" fmla="*/ 7674 h 9898"/>
              <a:gd name="connsiteX39" fmla="*/ 8971 w 10000"/>
              <a:gd name="connsiteY39" fmla="*/ 7668 h 9898"/>
              <a:gd name="connsiteX40" fmla="*/ 8962 w 10000"/>
              <a:gd name="connsiteY40" fmla="*/ 7688 h 9898"/>
              <a:gd name="connsiteX41" fmla="*/ 8915 w 10000"/>
              <a:gd name="connsiteY41" fmla="*/ 7764 h 9898"/>
              <a:gd name="connsiteX42" fmla="*/ 8841 w 10000"/>
              <a:gd name="connsiteY42" fmla="*/ 7908 h 9898"/>
              <a:gd name="connsiteX43" fmla="*/ 8665 w 10000"/>
              <a:gd name="connsiteY43" fmla="*/ 8167 h 9898"/>
              <a:gd name="connsiteX44" fmla="*/ 8454 w 10000"/>
              <a:gd name="connsiteY44" fmla="*/ 8421 h 9898"/>
              <a:gd name="connsiteX45" fmla="*/ 8223 w 10000"/>
              <a:gd name="connsiteY45" fmla="*/ 8654 h 9898"/>
              <a:gd name="connsiteX46" fmla="*/ 7963 w 10000"/>
              <a:gd name="connsiteY46" fmla="*/ 8858 h 9898"/>
              <a:gd name="connsiteX47" fmla="*/ 6828 w 10000"/>
              <a:gd name="connsiteY47" fmla="*/ 9515 h 9898"/>
              <a:gd name="connsiteX48" fmla="*/ 5709 w 10000"/>
              <a:gd name="connsiteY48" fmla="*/ 9892 h 9898"/>
              <a:gd name="connsiteX49" fmla="*/ 6966 w 10000"/>
              <a:gd name="connsiteY49" fmla="*/ 9699 h 9898"/>
              <a:gd name="connsiteX50" fmla="*/ 8259 w 10000"/>
              <a:gd name="connsiteY50" fmla="*/ 9090 h 9898"/>
              <a:gd name="connsiteX51" fmla="*/ 9367 w 10000"/>
              <a:gd name="connsiteY51" fmla="*/ 8093 h 9898"/>
              <a:gd name="connsiteX52" fmla="*/ 9470 w 10000"/>
              <a:gd name="connsiteY52" fmla="*/ 7949 h 9898"/>
              <a:gd name="connsiteX53" fmla="*/ 9516 w 10000"/>
              <a:gd name="connsiteY53" fmla="*/ 7880 h 9898"/>
              <a:gd name="connsiteX54" fmla="*/ 9534 w 10000"/>
              <a:gd name="connsiteY54" fmla="*/ 7859 h 9898"/>
              <a:gd name="connsiteX55" fmla="*/ 9552 w 10000"/>
              <a:gd name="connsiteY55" fmla="*/ 7832 h 9898"/>
              <a:gd name="connsiteX56" fmla="*/ 9571 w 10000"/>
              <a:gd name="connsiteY56" fmla="*/ 7791 h 9898"/>
              <a:gd name="connsiteX57" fmla="*/ 9664 w 10000"/>
              <a:gd name="connsiteY57" fmla="*/ 7634 h 9898"/>
              <a:gd name="connsiteX58" fmla="*/ 9737 w 10000"/>
              <a:gd name="connsiteY58" fmla="*/ 7464 h 9898"/>
              <a:gd name="connsiteX59" fmla="*/ 9959 w 10000"/>
              <a:gd name="connsiteY59" fmla="*/ 6771 h 9898"/>
              <a:gd name="connsiteX60" fmla="*/ 9848 w 10000"/>
              <a:gd name="connsiteY60" fmla="*/ 5314 h 9898"/>
              <a:gd name="connsiteX0" fmla="*/ 9848 w 10000"/>
              <a:gd name="connsiteY0" fmla="*/ 5369 h 9820"/>
              <a:gd name="connsiteX1" fmla="*/ 9136 w 10000"/>
              <a:gd name="connsiteY1" fmla="*/ 3995 h 9820"/>
              <a:gd name="connsiteX2" fmla="*/ 8028 w 10000"/>
              <a:gd name="connsiteY2" fmla="*/ 2841 h 9820"/>
              <a:gd name="connsiteX3" fmla="*/ 6716 w 10000"/>
              <a:gd name="connsiteY3" fmla="*/ 1936 h 9820"/>
              <a:gd name="connsiteX4" fmla="*/ 5359 w 10000"/>
              <a:gd name="connsiteY4" fmla="*/ 1286 h 9820"/>
              <a:gd name="connsiteX5" fmla="*/ 5035 w 10000"/>
              <a:gd name="connsiteY5" fmla="*/ 1155 h 9820"/>
              <a:gd name="connsiteX6" fmla="*/ 4888 w 10000"/>
              <a:gd name="connsiteY6" fmla="*/ 1098 h 9820"/>
              <a:gd name="connsiteX7" fmla="*/ 4822 w 10000"/>
              <a:gd name="connsiteY7" fmla="*/ 1078 h 9820"/>
              <a:gd name="connsiteX8" fmla="*/ 4785 w 10000"/>
              <a:gd name="connsiteY8" fmla="*/ 1064 h 9820"/>
              <a:gd name="connsiteX9" fmla="*/ 4730 w 10000"/>
              <a:gd name="connsiteY9" fmla="*/ 1044 h 9820"/>
              <a:gd name="connsiteX10" fmla="*/ 4138 w 10000"/>
              <a:gd name="connsiteY10" fmla="*/ 857 h 9820"/>
              <a:gd name="connsiteX11" fmla="*/ 3603 w 10000"/>
              <a:gd name="connsiteY11" fmla="*/ 711 h 9820"/>
              <a:gd name="connsiteX12" fmla="*/ 3178 w 10000"/>
              <a:gd name="connsiteY12" fmla="*/ 622 h 9820"/>
              <a:gd name="connsiteX13" fmla="*/ 3326 w 10000"/>
              <a:gd name="connsiteY13" fmla="*/ 0 h 9820"/>
              <a:gd name="connsiteX14" fmla="*/ 0 w 10000"/>
              <a:gd name="connsiteY14" fmla="*/ 899 h 9820"/>
              <a:gd name="connsiteX15" fmla="*/ 2697 w 10000"/>
              <a:gd name="connsiteY15" fmla="*/ 2599 h 9820"/>
              <a:gd name="connsiteX16" fmla="*/ 2864 w 10000"/>
              <a:gd name="connsiteY16" fmla="*/ 1915 h 9820"/>
              <a:gd name="connsiteX17" fmla="*/ 3132 w 10000"/>
              <a:gd name="connsiteY17" fmla="*/ 1956 h 9820"/>
              <a:gd name="connsiteX18" fmla="*/ 3594 w 10000"/>
              <a:gd name="connsiteY18" fmla="*/ 2045 h 9820"/>
              <a:gd name="connsiteX19" fmla="*/ 4120 w 10000"/>
              <a:gd name="connsiteY19" fmla="*/ 2169 h 9820"/>
              <a:gd name="connsiteX20" fmla="*/ 4129 w 10000"/>
              <a:gd name="connsiteY20" fmla="*/ 2169 h 9820"/>
              <a:gd name="connsiteX21" fmla="*/ 4138 w 10000"/>
              <a:gd name="connsiteY21" fmla="*/ 2176 h 9820"/>
              <a:gd name="connsiteX22" fmla="*/ 4129 w 10000"/>
              <a:gd name="connsiteY22" fmla="*/ 2169 h 9820"/>
              <a:gd name="connsiteX23" fmla="*/ 4138 w 10000"/>
              <a:gd name="connsiteY23" fmla="*/ 2169 h 9820"/>
              <a:gd name="connsiteX24" fmla="*/ 4176 w 10000"/>
              <a:gd name="connsiteY24" fmla="*/ 2183 h 9820"/>
              <a:gd name="connsiteX25" fmla="*/ 4250 w 10000"/>
              <a:gd name="connsiteY25" fmla="*/ 2205 h 9820"/>
              <a:gd name="connsiteX26" fmla="*/ 4407 w 10000"/>
              <a:gd name="connsiteY26" fmla="*/ 2246 h 9820"/>
              <a:gd name="connsiteX27" fmla="*/ 4693 w 10000"/>
              <a:gd name="connsiteY27" fmla="*/ 2337 h 9820"/>
              <a:gd name="connsiteX28" fmla="*/ 5904 w 10000"/>
              <a:gd name="connsiteY28" fmla="*/ 2805 h 9820"/>
              <a:gd name="connsiteX29" fmla="*/ 7123 w 10000"/>
              <a:gd name="connsiteY29" fmla="*/ 3497 h 9820"/>
              <a:gd name="connsiteX30" fmla="*/ 8203 w 10000"/>
              <a:gd name="connsiteY30" fmla="*/ 4423 h 9820"/>
              <a:gd name="connsiteX31" fmla="*/ 8962 w 10000"/>
              <a:gd name="connsiteY31" fmla="*/ 5551 h 9820"/>
              <a:gd name="connsiteX32" fmla="*/ 9211 w 10000"/>
              <a:gd name="connsiteY32" fmla="*/ 6793 h 9820"/>
              <a:gd name="connsiteX33" fmla="*/ 9100 w 10000"/>
              <a:gd name="connsiteY33" fmla="*/ 7409 h 9820"/>
              <a:gd name="connsiteX34" fmla="*/ 9054 w 10000"/>
              <a:gd name="connsiteY34" fmla="*/ 7554 h 9820"/>
              <a:gd name="connsiteX35" fmla="*/ 8989 w 10000"/>
              <a:gd name="connsiteY35" fmla="*/ 7700 h 9820"/>
              <a:gd name="connsiteX36" fmla="*/ 8971 w 10000"/>
              <a:gd name="connsiteY36" fmla="*/ 7740 h 9820"/>
              <a:gd name="connsiteX37" fmla="*/ 8971 w 10000"/>
              <a:gd name="connsiteY37" fmla="*/ 7747 h 9820"/>
              <a:gd name="connsiteX38" fmla="*/ 8971 w 10000"/>
              <a:gd name="connsiteY38" fmla="*/ 7753 h 9820"/>
              <a:gd name="connsiteX39" fmla="*/ 8971 w 10000"/>
              <a:gd name="connsiteY39" fmla="*/ 7747 h 9820"/>
              <a:gd name="connsiteX40" fmla="*/ 8962 w 10000"/>
              <a:gd name="connsiteY40" fmla="*/ 7767 h 9820"/>
              <a:gd name="connsiteX41" fmla="*/ 8915 w 10000"/>
              <a:gd name="connsiteY41" fmla="*/ 7844 h 9820"/>
              <a:gd name="connsiteX42" fmla="*/ 8841 w 10000"/>
              <a:gd name="connsiteY42" fmla="*/ 7989 h 9820"/>
              <a:gd name="connsiteX43" fmla="*/ 8665 w 10000"/>
              <a:gd name="connsiteY43" fmla="*/ 8251 h 9820"/>
              <a:gd name="connsiteX44" fmla="*/ 8454 w 10000"/>
              <a:gd name="connsiteY44" fmla="*/ 8508 h 9820"/>
              <a:gd name="connsiteX45" fmla="*/ 8223 w 10000"/>
              <a:gd name="connsiteY45" fmla="*/ 8743 h 9820"/>
              <a:gd name="connsiteX46" fmla="*/ 7963 w 10000"/>
              <a:gd name="connsiteY46" fmla="*/ 8949 h 9820"/>
              <a:gd name="connsiteX47" fmla="*/ 6828 w 10000"/>
              <a:gd name="connsiteY47" fmla="*/ 9613 h 9820"/>
              <a:gd name="connsiteX48" fmla="*/ 6966 w 10000"/>
              <a:gd name="connsiteY48" fmla="*/ 9799 h 9820"/>
              <a:gd name="connsiteX49" fmla="*/ 8259 w 10000"/>
              <a:gd name="connsiteY49" fmla="*/ 9184 h 9820"/>
              <a:gd name="connsiteX50" fmla="*/ 9367 w 10000"/>
              <a:gd name="connsiteY50" fmla="*/ 8176 h 9820"/>
              <a:gd name="connsiteX51" fmla="*/ 9470 w 10000"/>
              <a:gd name="connsiteY51" fmla="*/ 8031 h 9820"/>
              <a:gd name="connsiteX52" fmla="*/ 9516 w 10000"/>
              <a:gd name="connsiteY52" fmla="*/ 7961 h 9820"/>
              <a:gd name="connsiteX53" fmla="*/ 9534 w 10000"/>
              <a:gd name="connsiteY53" fmla="*/ 7940 h 9820"/>
              <a:gd name="connsiteX54" fmla="*/ 9552 w 10000"/>
              <a:gd name="connsiteY54" fmla="*/ 7913 h 9820"/>
              <a:gd name="connsiteX55" fmla="*/ 9571 w 10000"/>
              <a:gd name="connsiteY55" fmla="*/ 7871 h 9820"/>
              <a:gd name="connsiteX56" fmla="*/ 9664 w 10000"/>
              <a:gd name="connsiteY56" fmla="*/ 7713 h 9820"/>
              <a:gd name="connsiteX57" fmla="*/ 9737 w 10000"/>
              <a:gd name="connsiteY57" fmla="*/ 7541 h 9820"/>
              <a:gd name="connsiteX58" fmla="*/ 9959 w 10000"/>
              <a:gd name="connsiteY58" fmla="*/ 6841 h 9820"/>
              <a:gd name="connsiteX59" fmla="*/ 9848 w 10000"/>
              <a:gd name="connsiteY59" fmla="*/ 5369 h 9820"/>
              <a:gd name="connsiteX0" fmla="*/ 9848 w 10000"/>
              <a:gd name="connsiteY0" fmla="*/ 5467 h 9793"/>
              <a:gd name="connsiteX1" fmla="*/ 9136 w 10000"/>
              <a:gd name="connsiteY1" fmla="*/ 4068 h 9793"/>
              <a:gd name="connsiteX2" fmla="*/ 8028 w 10000"/>
              <a:gd name="connsiteY2" fmla="*/ 2893 h 9793"/>
              <a:gd name="connsiteX3" fmla="*/ 6716 w 10000"/>
              <a:gd name="connsiteY3" fmla="*/ 1971 h 9793"/>
              <a:gd name="connsiteX4" fmla="*/ 5359 w 10000"/>
              <a:gd name="connsiteY4" fmla="*/ 1310 h 9793"/>
              <a:gd name="connsiteX5" fmla="*/ 5035 w 10000"/>
              <a:gd name="connsiteY5" fmla="*/ 1176 h 9793"/>
              <a:gd name="connsiteX6" fmla="*/ 4888 w 10000"/>
              <a:gd name="connsiteY6" fmla="*/ 1118 h 9793"/>
              <a:gd name="connsiteX7" fmla="*/ 4822 w 10000"/>
              <a:gd name="connsiteY7" fmla="*/ 1098 h 9793"/>
              <a:gd name="connsiteX8" fmla="*/ 4785 w 10000"/>
              <a:gd name="connsiteY8" fmla="*/ 1084 h 9793"/>
              <a:gd name="connsiteX9" fmla="*/ 4730 w 10000"/>
              <a:gd name="connsiteY9" fmla="*/ 1063 h 9793"/>
              <a:gd name="connsiteX10" fmla="*/ 4138 w 10000"/>
              <a:gd name="connsiteY10" fmla="*/ 873 h 9793"/>
              <a:gd name="connsiteX11" fmla="*/ 3603 w 10000"/>
              <a:gd name="connsiteY11" fmla="*/ 724 h 9793"/>
              <a:gd name="connsiteX12" fmla="*/ 3178 w 10000"/>
              <a:gd name="connsiteY12" fmla="*/ 633 h 9793"/>
              <a:gd name="connsiteX13" fmla="*/ 3326 w 10000"/>
              <a:gd name="connsiteY13" fmla="*/ 0 h 9793"/>
              <a:gd name="connsiteX14" fmla="*/ 0 w 10000"/>
              <a:gd name="connsiteY14" fmla="*/ 915 h 9793"/>
              <a:gd name="connsiteX15" fmla="*/ 2697 w 10000"/>
              <a:gd name="connsiteY15" fmla="*/ 2647 h 9793"/>
              <a:gd name="connsiteX16" fmla="*/ 2864 w 10000"/>
              <a:gd name="connsiteY16" fmla="*/ 1950 h 9793"/>
              <a:gd name="connsiteX17" fmla="*/ 3132 w 10000"/>
              <a:gd name="connsiteY17" fmla="*/ 1992 h 9793"/>
              <a:gd name="connsiteX18" fmla="*/ 3594 w 10000"/>
              <a:gd name="connsiteY18" fmla="*/ 2082 h 9793"/>
              <a:gd name="connsiteX19" fmla="*/ 4120 w 10000"/>
              <a:gd name="connsiteY19" fmla="*/ 2209 h 9793"/>
              <a:gd name="connsiteX20" fmla="*/ 4129 w 10000"/>
              <a:gd name="connsiteY20" fmla="*/ 2209 h 9793"/>
              <a:gd name="connsiteX21" fmla="*/ 4138 w 10000"/>
              <a:gd name="connsiteY21" fmla="*/ 2216 h 9793"/>
              <a:gd name="connsiteX22" fmla="*/ 4129 w 10000"/>
              <a:gd name="connsiteY22" fmla="*/ 2209 h 9793"/>
              <a:gd name="connsiteX23" fmla="*/ 4138 w 10000"/>
              <a:gd name="connsiteY23" fmla="*/ 2209 h 9793"/>
              <a:gd name="connsiteX24" fmla="*/ 4176 w 10000"/>
              <a:gd name="connsiteY24" fmla="*/ 2223 h 9793"/>
              <a:gd name="connsiteX25" fmla="*/ 4250 w 10000"/>
              <a:gd name="connsiteY25" fmla="*/ 2245 h 9793"/>
              <a:gd name="connsiteX26" fmla="*/ 4407 w 10000"/>
              <a:gd name="connsiteY26" fmla="*/ 2287 h 9793"/>
              <a:gd name="connsiteX27" fmla="*/ 4693 w 10000"/>
              <a:gd name="connsiteY27" fmla="*/ 2380 h 9793"/>
              <a:gd name="connsiteX28" fmla="*/ 5904 w 10000"/>
              <a:gd name="connsiteY28" fmla="*/ 2856 h 9793"/>
              <a:gd name="connsiteX29" fmla="*/ 7123 w 10000"/>
              <a:gd name="connsiteY29" fmla="*/ 3561 h 9793"/>
              <a:gd name="connsiteX30" fmla="*/ 8203 w 10000"/>
              <a:gd name="connsiteY30" fmla="*/ 4504 h 9793"/>
              <a:gd name="connsiteX31" fmla="*/ 8962 w 10000"/>
              <a:gd name="connsiteY31" fmla="*/ 5653 h 9793"/>
              <a:gd name="connsiteX32" fmla="*/ 9211 w 10000"/>
              <a:gd name="connsiteY32" fmla="*/ 6918 h 9793"/>
              <a:gd name="connsiteX33" fmla="*/ 9100 w 10000"/>
              <a:gd name="connsiteY33" fmla="*/ 7545 h 9793"/>
              <a:gd name="connsiteX34" fmla="*/ 9054 w 10000"/>
              <a:gd name="connsiteY34" fmla="*/ 7692 h 9793"/>
              <a:gd name="connsiteX35" fmla="*/ 8989 w 10000"/>
              <a:gd name="connsiteY35" fmla="*/ 7841 h 9793"/>
              <a:gd name="connsiteX36" fmla="*/ 8971 w 10000"/>
              <a:gd name="connsiteY36" fmla="*/ 7882 h 9793"/>
              <a:gd name="connsiteX37" fmla="*/ 8971 w 10000"/>
              <a:gd name="connsiteY37" fmla="*/ 7889 h 9793"/>
              <a:gd name="connsiteX38" fmla="*/ 8971 w 10000"/>
              <a:gd name="connsiteY38" fmla="*/ 7895 h 9793"/>
              <a:gd name="connsiteX39" fmla="*/ 8971 w 10000"/>
              <a:gd name="connsiteY39" fmla="*/ 7889 h 9793"/>
              <a:gd name="connsiteX40" fmla="*/ 8962 w 10000"/>
              <a:gd name="connsiteY40" fmla="*/ 7909 h 9793"/>
              <a:gd name="connsiteX41" fmla="*/ 8915 w 10000"/>
              <a:gd name="connsiteY41" fmla="*/ 7988 h 9793"/>
              <a:gd name="connsiteX42" fmla="*/ 8841 w 10000"/>
              <a:gd name="connsiteY42" fmla="*/ 8135 h 9793"/>
              <a:gd name="connsiteX43" fmla="*/ 8665 w 10000"/>
              <a:gd name="connsiteY43" fmla="*/ 8402 h 9793"/>
              <a:gd name="connsiteX44" fmla="*/ 8454 w 10000"/>
              <a:gd name="connsiteY44" fmla="*/ 8664 h 9793"/>
              <a:gd name="connsiteX45" fmla="*/ 8223 w 10000"/>
              <a:gd name="connsiteY45" fmla="*/ 8903 h 9793"/>
              <a:gd name="connsiteX46" fmla="*/ 7963 w 10000"/>
              <a:gd name="connsiteY46" fmla="*/ 9113 h 9793"/>
              <a:gd name="connsiteX47" fmla="*/ 6828 w 10000"/>
              <a:gd name="connsiteY47" fmla="*/ 9789 h 9793"/>
              <a:gd name="connsiteX48" fmla="*/ 8259 w 10000"/>
              <a:gd name="connsiteY48" fmla="*/ 9352 h 9793"/>
              <a:gd name="connsiteX49" fmla="*/ 9367 w 10000"/>
              <a:gd name="connsiteY49" fmla="*/ 8326 h 9793"/>
              <a:gd name="connsiteX50" fmla="*/ 9470 w 10000"/>
              <a:gd name="connsiteY50" fmla="*/ 8178 h 9793"/>
              <a:gd name="connsiteX51" fmla="*/ 9516 w 10000"/>
              <a:gd name="connsiteY51" fmla="*/ 8107 h 9793"/>
              <a:gd name="connsiteX52" fmla="*/ 9534 w 10000"/>
              <a:gd name="connsiteY52" fmla="*/ 8086 h 9793"/>
              <a:gd name="connsiteX53" fmla="*/ 9552 w 10000"/>
              <a:gd name="connsiteY53" fmla="*/ 8058 h 9793"/>
              <a:gd name="connsiteX54" fmla="*/ 9571 w 10000"/>
              <a:gd name="connsiteY54" fmla="*/ 8015 h 9793"/>
              <a:gd name="connsiteX55" fmla="*/ 9664 w 10000"/>
              <a:gd name="connsiteY55" fmla="*/ 7854 h 9793"/>
              <a:gd name="connsiteX56" fmla="*/ 9737 w 10000"/>
              <a:gd name="connsiteY56" fmla="*/ 7679 h 9793"/>
              <a:gd name="connsiteX57" fmla="*/ 9959 w 10000"/>
              <a:gd name="connsiteY57" fmla="*/ 6966 h 9793"/>
              <a:gd name="connsiteX58" fmla="*/ 9848 w 10000"/>
              <a:gd name="connsiteY58" fmla="*/ 5467 h 9793"/>
              <a:gd name="connsiteX0" fmla="*/ 9848 w 10000"/>
              <a:gd name="connsiteY0" fmla="*/ 5583 h 9583"/>
              <a:gd name="connsiteX1" fmla="*/ 9136 w 10000"/>
              <a:gd name="connsiteY1" fmla="*/ 4154 h 9583"/>
              <a:gd name="connsiteX2" fmla="*/ 8028 w 10000"/>
              <a:gd name="connsiteY2" fmla="*/ 2954 h 9583"/>
              <a:gd name="connsiteX3" fmla="*/ 6716 w 10000"/>
              <a:gd name="connsiteY3" fmla="*/ 2013 h 9583"/>
              <a:gd name="connsiteX4" fmla="*/ 5359 w 10000"/>
              <a:gd name="connsiteY4" fmla="*/ 1338 h 9583"/>
              <a:gd name="connsiteX5" fmla="*/ 5035 w 10000"/>
              <a:gd name="connsiteY5" fmla="*/ 1201 h 9583"/>
              <a:gd name="connsiteX6" fmla="*/ 4888 w 10000"/>
              <a:gd name="connsiteY6" fmla="*/ 1142 h 9583"/>
              <a:gd name="connsiteX7" fmla="*/ 4822 w 10000"/>
              <a:gd name="connsiteY7" fmla="*/ 1121 h 9583"/>
              <a:gd name="connsiteX8" fmla="*/ 4785 w 10000"/>
              <a:gd name="connsiteY8" fmla="*/ 1107 h 9583"/>
              <a:gd name="connsiteX9" fmla="*/ 4730 w 10000"/>
              <a:gd name="connsiteY9" fmla="*/ 1085 h 9583"/>
              <a:gd name="connsiteX10" fmla="*/ 4138 w 10000"/>
              <a:gd name="connsiteY10" fmla="*/ 891 h 9583"/>
              <a:gd name="connsiteX11" fmla="*/ 3603 w 10000"/>
              <a:gd name="connsiteY11" fmla="*/ 739 h 9583"/>
              <a:gd name="connsiteX12" fmla="*/ 3178 w 10000"/>
              <a:gd name="connsiteY12" fmla="*/ 646 h 9583"/>
              <a:gd name="connsiteX13" fmla="*/ 3326 w 10000"/>
              <a:gd name="connsiteY13" fmla="*/ 0 h 9583"/>
              <a:gd name="connsiteX14" fmla="*/ 0 w 10000"/>
              <a:gd name="connsiteY14" fmla="*/ 934 h 9583"/>
              <a:gd name="connsiteX15" fmla="*/ 2697 w 10000"/>
              <a:gd name="connsiteY15" fmla="*/ 2703 h 9583"/>
              <a:gd name="connsiteX16" fmla="*/ 2864 w 10000"/>
              <a:gd name="connsiteY16" fmla="*/ 1991 h 9583"/>
              <a:gd name="connsiteX17" fmla="*/ 3132 w 10000"/>
              <a:gd name="connsiteY17" fmla="*/ 2034 h 9583"/>
              <a:gd name="connsiteX18" fmla="*/ 3594 w 10000"/>
              <a:gd name="connsiteY18" fmla="*/ 2126 h 9583"/>
              <a:gd name="connsiteX19" fmla="*/ 4120 w 10000"/>
              <a:gd name="connsiteY19" fmla="*/ 2256 h 9583"/>
              <a:gd name="connsiteX20" fmla="*/ 4129 w 10000"/>
              <a:gd name="connsiteY20" fmla="*/ 2256 h 9583"/>
              <a:gd name="connsiteX21" fmla="*/ 4138 w 10000"/>
              <a:gd name="connsiteY21" fmla="*/ 2263 h 9583"/>
              <a:gd name="connsiteX22" fmla="*/ 4129 w 10000"/>
              <a:gd name="connsiteY22" fmla="*/ 2256 h 9583"/>
              <a:gd name="connsiteX23" fmla="*/ 4138 w 10000"/>
              <a:gd name="connsiteY23" fmla="*/ 2256 h 9583"/>
              <a:gd name="connsiteX24" fmla="*/ 4176 w 10000"/>
              <a:gd name="connsiteY24" fmla="*/ 2270 h 9583"/>
              <a:gd name="connsiteX25" fmla="*/ 4250 w 10000"/>
              <a:gd name="connsiteY25" fmla="*/ 2292 h 9583"/>
              <a:gd name="connsiteX26" fmla="*/ 4407 w 10000"/>
              <a:gd name="connsiteY26" fmla="*/ 2335 h 9583"/>
              <a:gd name="connsiteX27" fmla="*/ 4693 w 10000"/>
              <a:gd name="connsiteY27" fmla="*/ 2430 h 9583"/>
              <a:gd name="connsiteX28" fmla="*/ 5904 w 10000"/>
              <a:gd name="connsiteY28" fmla="*/ 2916 h 9583"/>
              <a:gd name="connsiteX29" fmla="*/ 7123 w 10000"/>
              <a:gd name="connsiteY29" fmla="*/ 3636 h 9583"/>
              <a:gd name="connsiteX30" fmla="*/ 8203 w 10000"/>
              <a:gd name="connsiteY30" fmla="*/ 4599 h 9583"/>
              <a:gd name="connsiteX31" fmla="*/ 8962 w 10000"/>
              <a:gd name="connsiteY31" fmla="*/ 5772 h 9583"/>
              <a:gd name="connsiteX32" fmla="*/ 9211 w 10000"/>
              <a:gd name="connsiteY32" fmla="*/ 7064 h 9583"/>
              <a:gd name="connsiteX33" fmla="*/ 9100 w 10000"/>
              <a:gd name="connsiteY33" fmla="*/ 7704 h 9583"/>
              <a:gd name="connsiteX34" fmla="*/ 9054 w 10000"/>
              <a:gd name="connsiteY34" fmla="*/ 7855 h 9583"/>
              <a:gd name="connsiteX35" fmla="*/ 8989 w 10000"/>
              <a:gd name="connsiteY35" fmla="*/ 8007 h 9583"/>
              <a:gd name="connsiteX36" fmla="*/ 8971 w 10000"/>
              <a:gd name="connsiteY36" fmla="*/ 8049 h 9583"/>
              <a:gd name="connsiteX37" fmla="*/ 8971 w 10000"/>
              <a:gd name="connsiteY37" fmla="*/ 8056 h 9583"/>
              <a:gd name="connsiteX38" fmla="*/ 8971 w 10000"/>
              <a:gd name="connsiteY38" fmla="*/ 8062 h 9583"/>
              <a:gd name="connsiteX39" fmla="*/ 8971 w 10000"/>
              <a:gd name="connsiteY39" fmla="*/ 8056 h 9583"/>
              <a:gd name="connsiteX40" fmla="*/ 8962 w 10000"/>
              <a:gd name="connsiteY40" fmla="*/ 8076 h 9583"/>
              <a:gd name="connsiteX41" fmla="*/ 8915 w 10000"/>
              <a:gd name="connsiteY41" fmla="*/ 8157 h 9583"/>
              <a:gd name="connsiteX42" fmla="*/ 8841 w 10000"/>
              <a:gd name="connsiteY42" fmla="*/ 8307 h 9583"/>
              <a:gd name="connsiteX43" fmla="*/ 8665 w 10000"/>
              <a:gd name="connsiteY43" fmla="*/ 8580 h 9583"/>
              <a:gd name="connsiteX44" fmla="*/ 8454 w 10000"/>
              <a:gd name="connsiteY44" fmla="*/ 8847 h 9583"/>
              <a:gd name="connsiteX45" fmla="*/ 8223 w 10000"/>
              <a:gd name="connsiteY45" fmla="*/ 9091 h 9583"/>
              <a:gd name="connsiteX46" fmla="*/ 7963 w 10000"/>
              <a:gd name="connsiteY46" fmla="*/ 9306 h 9583"/>
              <a:gd name="connsiteX47" fmla="*/ 8259 w 10000"/>
              <a:gd name="connsiteY47" fmla="*/ 9550 h 9583"/>
              <a:gd name="connsiteX48" fmla="*/ 9367 w 10000"/>
              <a:gd name="connsiteY48" fmla="*/ 8502 h 9583"/>
              <a:gd name="connsiteX49" fmla="*/ 9470 w 10000"/>
              <a:gd name="connsiteY49" fmla="*/ 8351 h 9583"/>
              <a:gd name="connsiteX50" fmla="*/ 9516 w 10000"/>
              <a:gd name="connsiteY50" fmla="*/ 8278 h 9583"/>
              <a:gd name="connsiteX51" fmla="*/ 9534 w 10000"/>
              <a:gd name="connsiteY51" fmla="*/ 8257 h 9583"/>
              <a:gd name="connsiteX52" fmla="*/ 9552 w 10000"/>
              <a:gd name="connsiteY52" fmla="*/ 8228 h 9583"/>
              <a:gd name="connsiteX53" fmla="*/ 9571 w 10000"/>
              <a:gd name="connsiteY53" fmla="*/ 8184 h 9583"/>
              <a:gd name="connsiteX54" fmla="*/ 9664 w 10000"/>
              <a:gd name="connsiteY54" fmla="*/ 8020 h 9583"/>
              <a:gd name="connsiteX55" fmla="*/ 9737 w 10000"/>
              <a:gd name="connsiteY55" fmla="*/ 7841 h 9583"/>
              <a:gd name="connsiteX56" fmla="*/ 9959 w 10000"/>
              <a:gd name="connsiteY56" fmla="*/ 7113 h 9583"/>
              <a:gd name="connsiteX57" fmla="*/ 9848 w 10000"/>
              <a:gd name="connsiteY57" fmla="*/ 5583 h 9583"/>
              <a:gd name="connsiteX0" fmla="*/ 9848 w 10000"/>
              <a:gd name="connsiteY0" fmla="*/ 5826 h 9711"/>
              <a:gd name="connsiteX1" fmla="*/ 9136 w 10000"/>
              <a:gd name="connsiteY1" fmla="*/ 4335 h 9711"/>
              <a:gd name="connsiteX2" fmla="*/ 8028 w 10000"/>
              <a:gd name="connsiteY2" fmla="*/ 3083 h 9711"/>
              <a:gd name="connsiteX3" fmla="*/ 6716 w 10000"/>
              <a:gd name="connsiteY3" fmla="*/ 2101 h 9711"/>
              <a:gd name="connsiteX4" fmla="*/ 5359 w 10000"/>
              <a:gd name="connsiteY4" fmla="*/ 1396 h 9711"/>
              <a:gd name="connsiteX5" fmla="*/ 5035 w 10000"/>
              <a:gd name="connsiteY5" fmla="*/ 1253 h 9711"/>
              <a:gd name="connsiteX6" fmla="*/ 4888 w 10000"/>
              <a:gd name="connsiteY6" fmla="*/ 1192 h 9711"/>
              <a:gd name="connsiteX7" fmla="*/ 4822 w 10000"/>
              <a:gd name="connsiteY7" fmla="*/ 1170 h 9711"/>
              <a:gd name="connsiteX8" fmla="*/ 4785 w 10000"/>
              <a:gd name="connsiteY8" fmla="*/ 1155 h 9711"/>
              <a:gd name="connsiteX9" fmla="*/ 4730 w 10000"/>
              <a:gd name="connsiteY9" fmla="*/ 1132 h 9711"/>
              <a:gd name="connsiteX10" fmla="*/ 4138 w 10000"/>
              <a:gd name="connsiteY10" fmla="*/ 930 h 9711"/>
              <a:gd name="connsiteX11" fmla="*/ 3603 w 10000"/>
              <a:gd name="connsiteY11" fmla="*/ 771 h 9711"/>
              <a:gd name="connsiteX12" fmla="*/ 3178 w 10000"/>
              <a:gd name="connsiteY12" fmla="*/ 674 h 9711"/>
              <a:gd name="connsiteX13" fmla="*/ 3326 w 10000"/>
              <a:gd name="connsiteY13" fmla="*/ 0 h 9711"/>
              <a:gd name="connsiteX14" fmla="*/ 0 w 10000"/>
              <a:gd name="connsiteY14" fmla="*/ 975 h 9711"/>
              <a:gd name="connsiteX15" fmla="*/ 2697 w 10000"/>
              <a:gd name="connsiteY15" fmla="*/ 2821 h 9711"/>
              <a:gd name="connsiteX16" fmla="*/ 2864 w 10000"/>
              <a:gd name="connsiteY16" fmla="*/ 2078 h 9711"/>
              <a:gd name="connsiteX17" fmla="*/ 3132 w 10000"/>
              <a:gd name="connsiteY17" fmla="*/ 2123 h 9711"/>
              <a:gd name="connsiteX18" fmla="*/ 3594 w 10000"/>
              <a:gd name="connsiteY18" fmla="*/ 2219 h 9711"/>
              <a:gd name="connsiteX19" fmla="*/ 4120 w 10000"/>
              <a:gd name="connsiteY19" fmla="*/ 2354 h 9711"/>
              <a:gd name="connsiteX20" fmla="*/ 4129 w 10000"/>
              <a:gd name="connsiteY20" fmla="*/ 2354 h 9711"/>
              <a:gd name="connsiteX21" fmla="*/ 4138 w 10000"/>
              <a:gd name="connsiteY21" fmla="*/ 2361 h 9711"/>
              <a:gd name="connsiteX22" fmla="*/ 4129 w 10000"/>
              <a:gd name="connsiteY22" fmla="*/ 2354 h 9711"/>
              <a:gd name="connsiteX23" fmla="*/ 4138 w 10000"/>
              <a:gd name="connsiteY23" fmla="*/ 2354 h 9711"/>
              <a:gd name="connsiteX24" fmla="*/ 4176 w 10000"/>
              <a:gd name="connsiteY24" fmla="*/ 2369 h 9711"/>
              <a:gd name="connsiteX25" fmla="*/ 4250 w 10000"/>
              <a:gd name="connsiteY25" fmla="*/ 2392 h 9711"/>
              <a:gd name="connsiteX26" fmla="*/ 4407 w 10000"/>
              <a:gd name="connsiteY26" fmla="*/ 2437 h 9711"/>
              <a:gd name="connsiteX27" fmla="*/ 4693 w 10000"/>
              <a:gd name="connsiteY27" fmla="*/ 2536 h 9711"/>
              <a:gd name="connsiteX28" fmla="*/ 5904 w 10000"/>
              <a:gd name="connsiteY28" fmla="*/ 3043 h 9711"/>
              <a:gd name="connsiteX29" fmla="*/ 7123 w 10000"/>
              <a:gd name="connsiteY29" fmla="*/ 3794 h 9711"/>
              <a:gd name="connsiteX30" fmla="*/ 8203 w 10000"/>
              <a:gd name="connsiteY30" fmla="*/ 4799 h 9711"/>
              <a:gd name="connsiteX31" fmla="*/ 8962 w 10000"/>
              <a:gd name="connsiteY31" fmla="*/ 6023 h 9711"/>
              <a:gd name="connsiteX32" fmla="*/ 9211 w 10000"/>
              <a:gd name="connsiteY32" fmla="*/ 7371 h 9711"/>
              <a:gd name="connsiteX33" fmla="*/ 9100 w 10000"/>
              <a:gd name="connsiteY33" fmla="*/ 8039 h 9711"/>
              <a:gd name="connsiteX34" fmla="*/ 9054 w 10000"/>
              <a:gd name="connsiteY34" fmla="*/ 8197 h 9711"/>
              <a:gd name="connsiteX35" fmla="*/ 8989 w 10000"/>
              <a:gd name="connsiteY35" fmla="*/ 8355 h 9711"/>
              <a:gd name="connsiteX36" fmla="*/ 8971 w 10000"/>
              <a:gd name="connsiteY36" fmla="*/ 8399 h 9711"/>
              <a:gd name="connsiteX37" fmla="*/ 8971 w 10000"/>
              <a:gd name="connsiteY37" fmla="*/ 8407 h 9711"/>
              <a:gd name="connsiteX38" fmla="*/ 8971 w 10000"/>
              <a:gd name="connsiteY38" fmla="*/ 8413 h 9711"/>
              <a:gd name="connsiteX39" fmla="*/ 8971 w 10000"/>
              <a:gd name="connsiteY39" fmla="*/ 8407 h 9711"/>
              <a:gd name="connsiteX40" fmla="*/ 8962 w 10000"/>
              <a:gd name="connsiteY40" fmla="*/ 8427 h 9711"/>
              <a:gd name="connsiteX41" fmla="*/ 8915 w 10000"/>
              <a:gd name="connsiteY41" fmla="*/ 8512 h 9711"/>
              <a:gd name="connsiteX42" fmla="*/ 8841 w 10000"/>
              <a:gd name="connsiteY42" fmla="*/ 8668 h 9711"/>
              <a:gd name="connsiteX43" fmla="*/ 8665 w 10000"/>
              <a:gd name="connsiteY43" fmla="*/ 8953 h 9711"/>
              <a:gd name="connsiteX44" fmla="*/ 8454 w 10000"/>
              <a:gd name="connsiteY44" fmla="*/ 9232 h 9711"/>
              <a:gd name="connsiteX45" fmla="*/ 8223 w 10000"/>
              <a:gd name="connsiteY45" fmla="*/ 9487 h 9711"/>
              <a:gd name="connsiteX46" fmla="*/ 7963 w 10000"/>
              <a:gd name="connsiteY46" fmla="*/ 9711 h 9711"/>
              <a:gd name="connsiteX47" fmla="*/ 9367 w 10000"/>
              <a:gd name="connsiteY47" fmla="*/ 8872 h 9711"/>
              <a:gd name="connsiteX48" fmla="*/ 9470 w 10000"/>
              <a:gd name="connsiteY48" fmla="*/ 8714 h 9711"/>
              <a:gd name="connsiteX49" fmla="*/ 9516 w 10000"/>
              <a:gd name="connsiteY49" fmla="*/ 8638 h 9711"/>
              <a:gd name="connsiteX50" fmla="*/ 9534 w 10000"/>
              <a:gd name="connsiteY50" fmla="*/ 8616 h 9711"/>
              <a:gd name="connsiteX51" fmla="*/ 9552 w 10000"/>
              <a:gd name="connsiteY51" fmla="*/ 8586 h 9711"/>
              <a:gd name="connsiteX52" fmla="*/ 9571 w 10000"/>
              <a:gd name="connsiteY52" fmla="*/ 8540 h 9711"/>
              <a:gd name="connsiteX53" fmla="*/ 9664 w 10000"/>
              <a:gd name="connsiteY53" fmla="*/ 8369 h 9711"/>
              <a:gd name="connsiteX54" fmla="*/ 9737 w 10000"/>
              <a:gd name="connsiteY54" fmla="*/ 8182 h 9711"/>
              <a:gd name="connsiteX55" fmla="*/ 9959 w 10000"/>
              <a:gd name="connsiteY55" fmla="*/ 7423 h 9711"/>
              <a:gd name="connsiteX56" fmla="*/ 9848 w 10000"/>
              <a:gd name="connsiteY56" fmla="*/ 5826 h 9711"/>
              <a:gd name="connsiteX0" fmla="*/ 9848 w 10000"/>
              <a:gd name="connsiteY0" fmla="*/ 5999 h 9769"/>
              <a:gd name="connsiteX1" fmla="*/ 9136 w 10000"/>
              <a:gd name="connsiteY1" fmla="*/ 4464 h 9769"/>
              <a:gd name="connsiteX2" fmla="*/ 8028 w 10000"/>
              <a:gd name="connsiteY2" fmla="*/ 3175 h 9769"/>
              <a:gd name="connsiteX3" fmla="*/ 6716 w 10000"/>
              <a:gd name="connsiteY3" fmla="*/ 2164 h 9769"/>
              <a:gd name="connsiteX4" fmla="*/ 5359 w 10000"/>
              <a:gd name="connsiteY4" fmla="*/ 1438 h 9769"/>
              <a:gd name="connsiteX5" fmla="*/ 5035 w 10000"/>
              <a:gd name="connsiteY5" fmla="*/ 1290 h 9769"/>
              <a:gd name="connsiteX6" fmla="*/ 4888 w 10000"/>
              <a:gd name="connsiteY6" fmla="*/ 1227 h 9769"/>
              <a:gd name="connsiteX7" fmla="*/ 4822 w 10000"/>
              <a:gd name="connsiteY7" fmla="*/ 1205 h 9769"/>
              <a:gd name="connsiteX8" fmla="*/ 4785 w 10000"/>
              <a:gd name="connsiteY8" fmla="*/ 1189 h 9769"/>
              <a:gd name="connsiteX9" fmla="*/ 4730 w 10000"/>
              <a:gd name="connsiteY9" fmla="*/ 1166 h 9769"/>
              <a:gd name="connsiteX10" fmla="*/ 4138 w 10000"/>
              <a:gd name="connsiteY10" fmla="*/ 958 h 9769"/>
              <a:gd name="connsiteX11" fmla="*/ 3603 w 10000"/>
              <a:gd name="connsiteY11" fmla="*/ 794 h 9769"/>
              <a:gd name="connsiteX12" fmla="*/ 3178 w 10000"/>
              <a:gd name="connsiteY12" fmla="*/ 694 h 9769"/>
              <a:gd name="connsiteX13" fmla="*/ 3326 w 10000"/>
              <a:gd name="connsiteY13" fmla="*/ 0 h 9769"/>
              <a:gd name="connsiteX14" fmla="*/ 0 w 10000"/>
              <a:gd name="connsiteY14" fmla="*/ 1004 h 9769"/>
              <a:gd name="connsiteX15" fmla="*/ 2697 w 10000"/>
              <a:gd name="connsiteY15" fmla="*/ 2905 h 9769"/>
              <a:gd name="connsiteX16" fmla="*/ 2864 w 10000"/>
              <a:gd name="connsiteY16" fmla="*/ 2140 h 9769"/>
              <a:gd name="connsiteX17" fmla="*/ 3132 w 10000"/>
              <a:gd name="connsiteY17" fmla="*/ 2186 h 9769"/>
              <a:gd name="connsiteX18" fmla="*/ 3594 w 10000"/>
              <a:gd name="connsiteY18" fmla="*/ 2285 h 9769"/>
              <a:gd name="connsiteX19" fmla="*/ 4120 w 10000"/>
              <a:gd name="connsiteY19" fmla="*/ 2424 h 9769"/>
              <a:gd name="connsiteX20" fmla="*/ 4129 w 10000"/>
              <a:gd name="connsiteY20" fmla="*/ 2424 h 9769"/>
              <a:gd name="connsiteX21" fmla="*/ 4138 w 10000"/>
              <a:gd name="connsiteY21" fmla="*/ 2431 h 9769"/>
              <a:gd name="connsiteX22" fmla="*/ 4129 w 10000"/>
              <a:gd name="connsiteY22" fmla="*/ 2424 h 9769"/>
              <a:gd name="connsiteX23" fmla="*/ 4138 w 10000"/>
              <a:gd name="connsiteY23" fmla="*/ 2424 h 9769"/>
              <a:gd name="connsiteX24" fmla="*/ 4176 w 10000"/>
              <a:gd name="connsiteY24" fmla="*/ 2440 h 9769"/>
              <a:gd name="connsiteX25" fmla="*/ 4250 w 10000"/>
              <a:gd name="connsiteY25" fmla="*/ 2463 h 9769"/>
              <a:gd name="connsiteX26" fmla="*/ 4407 w 10000"/>
              <a:gd name="connsiteY26" fmla="*/ 2510 h 9769"/>
              <a:gd name="connsiteX27" fmla="*/ 4693 w 10000"/>
              <a:gd name="connsiteY27" fmla="*/ 2611 h 9769"/>
              <a:gd name="connsiteX28" fmla="*/ 5904 w 10000"/>
              <a:gd name="connsiteY28" fmla="*/ 3134 h 9769"/>
              <a:gd name="connsiteX29" fmla="*/ 7123 w 10000"/>
              <a:gd name="connsiteY29" fmla="*/ 3907 h 9769"/>
              <a:gd name="connsiteX30" fmla="*/ 8203 w 10000"/>
              <a:gd name="connsiteY30" fmla="*/ 4942 h 9769"/>
              <a:gd name="connsiteX31" fmla="*/ 8962 w 10000"/>
              <a:gd name="connsiteY31" fmla="*/ 6202 h 9769"/>
              <a:gd name="connsiteX32" fmla="*/ 9211 w 10000"/>
              <a:gd name="connsiteY32" fmla="*/ 7590 h 9769"/>
              <a:gd name="connsiteX33" fmla="*/ 9100 w 10000"/>
              <a:gd name="connsiteY33" fmla="*/ 8278 h 9769"/>
              <a:gd name="connsiteX34" fmla="*/ 9054 w 10000"/>
              <a:gd name="connsiteY34" fmla="*/ 8441 h 9769"/>
              <a:gd name="connsiteX35" fmla="*/ 8989 w 10000"/>
              <a:gd name="connsiteY35" fmla="*/ 8604 h 9769"/>
              <a:gd name="connsiteX36" fmla="*/ 8971 w 10000"/>
              <a:gd name="connsiteY36" fmla="*/ 8649 h 9769"/>
              <a:gd name="connsiteX37" fmla="*/ 8971 w 10000"/>
              <a:gd name="connsiteY37" fmla="*/ 8657 h 9769"/>
              <a:gd name="connsiteX38" fmla="*/ 8971 w 10000"/>
              <a:gd name="connsiteY38" fmla="*/ 8663 h 9769"/>
              <a:gd name="connsiteX39" fmla="*/ 8971 w 10000"/>
              <a:gd name="connsiteY39" fmla="*/ 8657 h 9769"/>
              <a:gd name="connsiteX40" fmla="*/ 8962 w 10000"/>
              <a:gd name="connsiteY40" fmla="*/ 8678 h 9769"/>
              <a:gd name="connsiteX41" fmla="*/ 8915 w 10000"/>
              <a:gd name="connsiteY41" fmla="*/ 8765 h 9769"/>
              <a:gd name="connsiteX42" fmla="*/ 8841 w 10000"/>
              <a:gd name="connsiteY42" fmla="*/ 8926 h 9769"/>
              <a:gd name="connsiteX43" fmla="*/ 8665 w 10000"/>
              <a:gd name="connsiteY43" fmla="*/ 9219 h 9769"/>
              <a:gd name="connsiteX44" fmla="*/ 8454 w 10000"/>
              <a:gd name="connsiteY44" fmla="*/ 9507 h 9769"/>
              <a:gd name="connsiteX45" fmla="*/ 8223 w 10000"/>
              <a:gd name="connsiteY45" fmla="*/ 9769 h 9769"/>
              <a:gd name="connsiteX46" fmla="*/ 9367 w 10000"/>
              <a:gd name="connsiteY46" fmla="*/ 9136 h 9769"/>
              <a:gd name="connsiteX47" fmla="*/ 9470 w 10000"/>
              <a:gd name="connsiteY47" fmla="*/ 8973 h 9769"/>
              <a:gd name="connsiteX48" fmla="*/ 9516 w 10000"/>
              <a:gd name="connsiteY48" fmla="*/ 8895 h 9769"/>
              <a:gd name="connsiteX49" fmla="*/ 9534 w 10000"/>
              <a:gd name="connsiteY49" fmla="*/ 8872 h 9769"/>
              <a:gd name="connsiteX50" fmla="*/ 9552 w 10000"/>
              <a:gd name="connsiteY50" fmla="*/ 8842 h 9769"/>
              <a:gd name="connsiteX51" fmla="*/ 9571 w 10000"/>
              <a:gd name="connsiteY51" fmla="*/ 8794 h 9769"/>
              <a:gd name="connsiteX52" fmla="*/ 9664 w 10000"/>
              <a:gd name="connsiteY52" fmla="*/ 8618 h 9769"/>
              <a:gd name="connsiteX53" fmla="*/ 9737 w 10000"/>
              <a:gd name="connsiteY53" fmla="*/ 8425 h 9769"/>
              <a:gd name="connsiteX54" fmla="*/ 9959 w 10000"/>
              <a:gd name="connsiteY54" fmla="*/ 7644 h 9769"/>
              <a:gd name="connsiteX55" fmla="*/ 9848 w 10000"/>
              <a:gd name="connsiteY55" fmla="*/ 5999 h 9769"/>
              <a:gd name="connsiteX0" fmla="*/ 9848 w 10000"/>
              <a:gd name="connsiteY0" fmla="*/ 6141 h 9732"/>
              <a:gd name="connsiteX1" fmla="*/ 9136 w 10000"/>
              <a:gd name="connsiteY1" fmla="*/ 4570 h 9732"/>
              <a:gd name="connsiteX2" fmla="*/ 8028 w 10000"/>
              <a:gd name="connsiteY2" fmla="*/ 3250 h 9732"/>
              <a:gd name="connsiteX3" fmla="*/ 6716 w 10000"/>
              <a:gd name="connsiteY3" fmla="*/ 2215 h 9732"/>
              <a:gd name="connsiteX4" fmla="*/ 5359 w 10000"/>
              <a:gd name="connsiteY4" fmla="*/ 1472 h 9732"/>
              <a:gd name="connsiteX5" fmla="*/ 5035 w 10000"/>
              <a:gd name="connsiteY5" fmla="*/ 1321 h 9732"/>
              <a:gd name="connsiteX6" fmla="*/ 4888 w 10000"/>
              <a:gd name="connsiteY6" fmla="*/ 1256 h 9732"/>
              <a:gd name="connsiteX7" fmla="*/ 4822 w 10000"/>
              <a:gd name="connsiteY7" fmla="*/ 1233 h 9732"/>
              <a:gd name="connsiteX8" fmla="*/ 4785 w 10000"/>
              <a:gd name="connsiteY8" fmla="*/ 1217 h 9732"/>
              <a:gd name="connsiteX9" fmla="*/ 4730 w 10000"/>
              <a:gd name="connsiteY9" fmla="*/ 1194 h 9732"/>
              <a:gd name="connsiteX10" fmla="*/ 4138 w 10000"/>
              <a:gd name="connsiteY10" fmla="*/ 981 h 9732"/>
              <a:gd name="connsiteX11" fmla="*/ 3603 w 10000"/>
              <a:gd name="connsiteY11" fmla="*/ 813 h 9732"/>
              <a:gd name="connsiteX12" fmla="*/ 3178 w 10000"/>
              <a:gd name="connsiteY12" fmla="*/ 710 h 9732"/>
              <a:gd name="connsiteX13" fmla="*/ 3326 w 10000"/>
              <a:gd name="connsiteY13" fmla="*/ 0 h 9732"/>
              <a:gd name="connsiteX14" fmla="*/ 0 w 10000"/>
              <a:gd name="connsiteY14" fmla="*/ 1028 h 9732"/>
              <a:gd name="connsiteX15" fmla="*/ 2697 w 10000"/>
              <a:gd name="connsiteY15" fmla="*/ 2974 h 9732"/>
              <a:gd name="connsiteX16" fmla="*/ 2864 w 10000"/>
              <a:gd name="connsiteY16" fmla="*/ 2191 h 9732"/>
              <a:gd name="connsiteX17" fmla="*/ 3132 w 10000"/>
              <a:gd name="connsiteY17" fmla="*/ 2238 h 9732"/>
              <a:gd name="connsiteX18" fmla="*/ 3594 w 10000"/>
              <a:gd name="connsiteY18" fmla="*/ 2339 h 9732"/>
              <a:gd name="connsiteX19" fmla="*/ 4120 w 10000"/>
              <a:gd name="connsiteY19" fmla="*/ 2481 h 9732"/>
              <a:gd name="connsiteX20" fmla="*/ 4129 w 10000"/>
              <a:gd name="connsiteY20" fmla="*/ 2481 h 9732"/>
              <a:gd name="connsiteX21" fmla="*/ 4138 w 10000"/>
              <a:gd name="connsiteY21" fmla="*/ 2488 h 9732"/>
              <a:gd name="connsiteX22" fmla="*/ 4129 w 10000"/>
              <a:gd name="connsiteY22" fmla="*/ 2481 h 9732"/>
              <a:gd name="connsiteX23" fmla="*/ 4138 w 10000"/>
              <a:gd name="connsiteY23" fmla="*/ 2481 h 9732"/>
              <a:gd name="connsiteX24" fmla="*/ 4176 w 10000"/>
              <a:gd name="connsiteY24" fmla="*/ 2498 h 9732"/>
              <a:gd name="connsiteX25" fmla="*/ 4250 w 10000"/>
              <a:gd name="connsiteY25" fmla="*/ 2521 h 9732"/>
              <a:gd name="connsiteX26" fmla="*/ 4407 w 10000"/>
              <a:gd name="connsiteY26" fmla="*/ 2569 h 9732"/>
              <a:gd name="connsiteX27" fmla="*/ 4693 w 10000"/>
              <a:gd name="connsiteY27" fmla="*/ 2673 h 9732"/>
              <a:gd name="connsiteX28" fmla="*/ 5904 w 10000"/>
              <a:gd name="connsiteY28" fmla="*/ 3208 h 9732"/>
              <a:gd name="connsiteX29" fmla="*/ 7123 w 10000"/>
              <a:gd name="connsiteY29" fmla="*/ 3999 h 9732"/>
              <a:gd name="connsiteX30" fmla="*/ 8203 w 10000"/>
              <a:gd name="connsiteY30" fmla="*/ 5059 h 9732"/>
              <a:gd name="connsiteX31" fmla="*/ 8962 w 10000"/>
              <a:gd name="connsiteY31" fmla="*/ 6349 h 9732"/>
              <a:gd name="connsiteX32" fmla="*/ 9211 w 10000"/>
              <a:gd name="connsiteY32" fmla="*/ 7769 h 9732"/>
              <a:gd name="connsiteX33" fmla="*/ 9100 w 10000"/>
              <a:gd name="connsiteY33" fmla="*/ 8474 h 9732"/>
              <a:gd name="connsiteX34" fmla="*/ 9054 w 10000"/>
              <a:gd name="connsiteY34" fmla="*/ 8641 h 9732"/>
              <a:gd name="connsiteX35" fmla="*/ 8989 w 10000"/>
              <a:gd name="connsiteY35" fmla="*/ 8807 h 9732"/>
              <a:gd name="connsiteX36" fmla="*/ 8971 w 10000"/>
              <a:gd name="connsiteY36" fmla="*/ 8854 h 9732"/>
              <a:gd name="connsiteX37" fmla="*/ 8971 w 10000"/>
              <a:gd name="connsiteY37" fmla="*/ 8862 h 9732"/>
              <a:gd name="connsiteX38" fmla="*/ 8971 w 10000"/>
              <a:gd name="connsiteY38" fmla="*/ 8868 h 9732"/>
              <a:gd name="connsiteX39" fmla="*/ 8971 w 10000"/>
              <a:gd name="connsiteY39" fmla="*/ 8862 h 9732"/>
              <a:gd name="connsiteX40" fmla="*/ 8962 w 10000"/>
              <a:gd name="connsiteY40" fmla="*/ 8883 h 9732"/>
              <a:gd name="connsiteX41" fmla="*/ 8915 w 10000"/>
              <a:gd name="connsiteY41" fmla="*/ 8972 h 9732"/>
              <a:gd name="connsiteX42" fmla="*/ 8841 w 10000"/>
              <a:gd name="connsiteY42" fmla="*/ 9137 h 9732"/>
              <a:gd name="connsiteX43" fmla="*/ 8665 w 10000"/>
              <a:gd name="connsiteY43" fmla="*/ 9437 h 9732"/>
              <a:gd name="connsiteX44" fmla="*/ 8454 w 10000"/>
              <a:gd name="connsiteY44" fmla="*/ 9732 h 9732"/>
              <a:gd name="connsiteX45" fmla="*/ 9367 w 10000"/>
              <a:gd name="connsiteY45" fmla="*/ 9352 h 9732"/>
              <a:gd name="connsiteX46" fmla="*/ 9470 w 10000"/>
              <a:gd name="connsiteY46" fmla="*/ 9185 h 9732"/>
              <a:gd name="connsiteX47" fmla="*/ 9516 w 10000"/>
              <a:gd name="connsiteY47" fmla="*/ 9105 h 9732"/>
              <a:gd name="connsiteX48" fmla="*/ 9534 w 10000"/>
              <a:gd name="connsiteY48" fmla="*/ 9082 h 9732"/>
              <a:gd name="connsiteX49" fmla="*/ 9552 w 10000"/>
              <a:gd name="connsiteY49" fmla="*/ 9051 h 9732"/>
              <a:gd name="connsiteX50" fmla="*/ 9571 w 10000"/>
              <a:gd name="connsiteY50" fmla="*/ 9002 h 9732"/>
              <a:gd name="connsiteX51" fmla="*/ 9664 w 10000"/>
              <a:gd name="connsiteY51" fmla="*/ 8822 h 9732"/>
              <a:gd name="connsiteX52" fmla="*/ 9737 w 10000"/>
              <a:gd name="connsiteY52" fmla="*/ 8624 h 9732"/>
              <a:gd name="connsiteX53" fmla="*/ 9959 w 10000"/>
              <a:gd name="connsiteY53" fmla="*/ 7825 h 9732"/>
              <a:gd name="connsiteX54" fmla="*/ 9848 w 10000"/>
              <a:gd name="connsiteY54" fmla="*/ 6141 h 9732"/>
              <a:gd name="connsiteX0" fmla="*/ 9848 w 10000"/>
              <a:gd name="connsiteY0" fmla="*/ 6310 h 9706"/>
              <a:gd name="connsiteX1" fmla="*/ 9136 w 10000"/>
              <a:gd name="connsiteY1" fmla="*/ 4696 h 9706"/>
              <a:gd name="connsiteX2" fmla="*/ 8028 w 10000"/>
              <a:gd name="connsiteY2" fmla="*/ 3339 h 9706"/>
              <a:gd name="connsiteX3" fmla="*/ 6716 w 10000"/>
              <a:gd name="connsiteY3" fmla="*/ 2276 h 9706"/>
              <a:gd name="connsiteX4" fmla="*/ 5359 w 10000"/>
              <a:gd name="connsiteY4" fmla="*/ 1513 h 9706"/>
              <a:gd name="connsiteX5" fmla="*/ 5035 w 10000"/>
              <a:gd name="connsiteY5" fmla="*/ 1357 h 9706"/>
              <a:gd name="connsiteX6" fmla="*/ 4888 w 10000"/>
              <a:gd name="connsiteY6" fmla="*/ 1291 h 9706"/>
              <a:gd name="connsiteX7" fmla="*/ 4822 w 10000"/>
              <a:gd name="connsiteY7" fmla="*/ 1267 h 9706"/>
              <a:gd name="connsiteX8" fmla="*/ 4785 w 10000"/>
              <a:gd name="connsiteY8" fmla="*/ 1251 h 9706"/>
              <a:gd name="connsiteX9" fmla="*/ 4730 w 10000"/>
              <a:gd name="connsiteY9" fmla="*/ 1227 h 9706"/>
              <a:gd name="connsiteX10" fmla="*/ 4138 w 10000"/>
              <a:gd name="connsiteY10" fmla="*/ 1008 h 9706"/>
              <a:gd name="connsiteX11" fmla="*/ 3603 w 10000"/>
              <a:gd name="connsiteY11" fmla="*/ 835 h 9706"/>
              <a:gd name="connsiteX12" fmla="*/ 3178 w 10000"/>
              <a:gd name="connsiteY12" fmla="*/ 730 h 9706"/>
              <a:gd name="connsiteX13" fmla="*/ 3326 w 10000"/>
              <a:gd name="connsiteY13" fmla="*/ 0 h 9706"/>
              <a:gd name="connsiteX14" fmla="*/ 0 w 10000"/>
              <a:gd name="connsiteY14" fmla="*/ 1056 h 9706"/>
              <a:gd name="connsiteX15" fmla="*/ 2697 w 10000"/>
              <a:gd name="connsiteY15" fmla="*/ 3056 h 9706"/>
              <a:gd name="connsiteX16" fmla="*/ 2864 w 10000"/>
              <a:gd name="connsiteY16" fmla="*/ 2251 h 9706"/>
              <a:gd name="connsiteX17" fmla="*/ 3132 w 10000"/>
              <a:gd name="connsiteY17" fmla="*/ 2300 h 9706"/>
              <a:gd name="connsiteX18" fmla="*/ 3594 w 10000"/>
              <a:gd name="connsiteY18" fmla="*/ 2403 h 9706"/>
              <a:gd name="connsiteX19" fmla="*/ 4120 w 10000"/>
              <a:gd name="connsiteY19" fmla="*/ 2549 h 9706"/>
              <a:gd name="connsiteX20" fmla="*/ 4129 w 10000"/>
              <a:gd name="connsiteY20" fmla="*/ 2549 h 9706"/>
              <a:gd name="connsiteX21" fmla="*/ 4138 w 10000"/>
              <a:gd name="connsiteY21" fmla="*/ 2557 h 9706"/>
              <a:gd name="connsiteX22" fmla="*/ 4129 w 10000"/>
              <a:gd name="connsiteY22" fmla="*/ 2549 h 9706"/>
              <a:gd name="connsiteX23" fmla="*/ 4138 w 10000"/>
              <a:gd name="connsiteY23" fmla="*/ 2549 h 9706"/>
              <a:gd name="connsiteX24" fmla="*/ 4176 w 10000"/>
              <a:gd name="connsiteY24" fmla="*/ 2567 h 9706"/>
              <a:gd name="connsiteX25" fmla="*/ 4250 w 10000"/>
              <a:gd name="connsiteY25" fmla="*/ 2590 h 9706"/>
              <a:gd name="connsiteX26" fmla="*/ 4407 w 10000"/>
              <a:gd name="connsiteY26" fmla="*/ 2640 h 9706"/>
              <a:gd name="connsiteX27" fmla="*/ 4693 w 10000"/>
              <a:gd name="connsiteY27" fmla="*/ 2747 h 9706"/>
              <a:gd name="connsiteX28" fmla="*/ 5904 w 10000"/>
              <a:gd name="connsiteY28" fmla="*/ 3296 h 9706"/>
              <a:gd name="connsiteX29" fmla="*/ 7123 w 10000"/>
              <a:gd name="connsiteY29" fmla="*/ 4109 h 9706"/>
              <a:gd name="connsiteX30" fmla="*/ 8203 w 10000"/>
              <a:gd name="connsiteY30" fmla="*/ 5198 h 9706"/>
              <a:gd name="connsiteX31" fmla="*/ 8962 w 10000"/>
              <a:gd name="connsiteY31" fmla="*/ 6524 h 9706"/>
              <a:gd name="connsiteX32" fmla="*/ 9211 w 10000"/>
              <a:gd name="connsiteY32" fmla="*/ 7983 h 9706"/>
              <a:gd name="connsiteX33" fmla="*/ 9100 w 10000"/>
              <a:gd name="connsiteY33" fmla="*/ 8707 h 9706"/>
              <a:gd name="connsiteX34" fmla="*/ 9054 w 10000"/>
              <a:gd name="connsiteY34" fmla="*/ 8879 h 9706"/>
              <a:gd name="connsiteX35" fmla="*/ 8989 w 10000"/>
              <a:gd name="connsiteY35" fmla="*/ 9050 h 9706"/>
              <a:gd name="connsiteX36" fmla="*/ 8971 w 10000"/>
              <a:gd name="connsiteY36" fmla="*/ 9098 h 9706"/>
              <a:gd name="connsiteX37" fmla="*/ 8971 w 10000"/>
              <a:gd name="connsiteY37" fmla="*/ 9106 h 9706"/>
              <a:gd name="connsiteX38" fmla="*/ 8971 w 10000"/>
              <a:gd name="connsiteY38" fmla="*/ 9112 h 9706"/>
              <a:gd name="connsiteX39" fmla="*/ 8971 w 10000"/>
              <a:gd name="connsiteY39" fmla="*/ 9106 h 9706"/>
              <a:gd name="connsiteX40" fmla="*/ 8962 w 10000"/>
              <a:gd name="connsiteY40" fmla="*/ 9128 h 9706"/>
              <a:gd name="connsiteX41" fmla="*/ 8915 w 10000"/>
              <a:gd name="connsiteY41" fmla="*/ 9219 h 9706"/>
              <a:gd name="connsiteX42" fmla="*/ 8841 w 10000"/>
              <a:gd name="connsiteY42" fmla="*/ 9389 h 9706"/>
              <a:gd name="connsiteX43" fmla="*/ 8665 w 10000"/>
              <a:gd name="connsiteY43" fmla="*/ 9697 h 9706"/>
              <a:gd name="connsiteX44" fmla="*/ 9367 w 10000"/>
              <a:gd name="connsiteY44" fmla="*/ 9610 h 9706"/>
              <a:gd name="connsiteX45" fmla="*/ 9470 w 10000"/>
              <a:gd name="connsiteY45" fmla="*/ 9438 h 9706"/>
              <a:gd name="connsiteX46" fmla="*/ 9516 w 10000"/>
              <a:gd name="connsiteY46" fmla="*/ 9356 h 9706"/>
              <a:gd name="connsiteX47" fmla="*/ 9534 w 10000"/>
              <a:gd name="connsiteY47" fmla="*/ 9332 h 9706"/>
              <a:gd name="connsiteX48" fmla="*/ 9552 w 10000"/>
              <a:gd name="connsiteY48" fmla="*/ 9300 h 9706"/>
              <a:gd name="connsiteX49" fmla="*/ 9571 w 10000"/>
              <a:gd name="connsiteY49" fmla="*/ 9250 h 9706"/>
              <a:gd name="connsiteX50" fmla="*/ 9664 w 10000"/>
              <a:gd name="connsiteY50" fmla="*/ 9065 h 9706"/>
              <a:gd name="connsiteX51" fmla="*/ 9737 w 10000"/>
              <a:gd name="connsiteY51" fmla="*/ 8861 h 9706"/>
              <a:gd name="connsiteX52" fmla="*/ 9959 w 10000"/>
              <a:gd name="connsiteY52" fmla="*/ 8040 h 9706"/>
              <a:gd name="connsiteX53" fmla="*/ 9848 w 10000"/>
              <a:gd name="connsiteY53" fmla="*/ 6310 h 9706"/>
              <a:gd name="connsiteX0" fmla="*/ 9848 w 10000"/>
              <a:gd name="connsiteY0" fmla="*/ 6501 h 9901"/>
              <a:gd name="connsiteX1" fmla="*/ 9136 w 10000"/>
              <a:gd name="connsiteY1" fmla="*/ 4838 h 9901"/>
              <a:gd name="connsiteX2" fmla="*/ 8028 w 10000"/>
              <a:gd name="connsiteY2" fmla="*/ 3440 h 9901"/>
              <a:gd name="connsiteX3" fmla="*/ 6716 w 10000"/>
              <a:gd name="connsiteY3" fmla="*/ 2345 h 9901"/>
              <a:gd name="connsiteX4" fmla="*/ 5359 w 10000"/>
              <a:gd name="connsiteY4" fmla="*/ 1559 h 9901"/>
              <a:gd name="connsiteX5" fmla="*/ 5035 w 10000"/>
              <a:gd name="connsiteY5" fmla="*/ 1398 h 9901"/>
              <a:gd name="connsiteX6" fmla="*/ 4888 w 10000"/>
              <a:gd name="connsiteY6" fmla="*/ 1330 h 9901"/>
              <a:gd name="connsiteX7" fmla="*/ 4822 w 10000"/>
              <a:gd name="connsiteY7" fmla="*/ 1305 h 9901"/>
              <a:gd name="connsiteX8" fmla="*/ 4785 w 10000"/>
              <a:gd name="connsiteY8" fmla="*/ 1289 h 9901"/>
              <a:gd name="connsiteX9" fmla="*/ 4730 w 10000"/>
              <a:gd name="connsiteY9" fmla="*/ 1264 h 9901"/>
              <a:gd name="connsiteX10" fmla="*/ 4138 w 10000"/>
              <a:gd name="connsiteY10" fmla="*/ 1039 h 9901"/>
              <a:gd name="connsiteX11" fmla="*/ 3603 w 10000"/>
              <a:gd name="connsiteY11" fmla="*/ 860 h 9901"/>
              <a:gd name="connsiteX12" fmla="*/ 3178 w 10000"/>
              <a:gd name="connsiteY12" fmla="*/ 752 h 9901"/>
              <a:gd name="connsiteX13" fmla="*/ 3326 w 10000"/>
              <a:gd name="connsiteY13" fmla="*/ 0 h 9901"/>
              <a:gd name="connsiteX14" fmla="*/ 0 w 10000"/>
              <a:gd name="connsiteY14" fmla="*/ 1088 h 9901"/>
              <a:gd name="connsiteX15" fmla="*/ 2697 w 10000"/>
              <a:gd name="connsiteY15" fmla="*/ 3149 h 9901"/>
              <a:gd name="connsiteX16" fmla="*/ 2864 w 10000"/>
              <a:gd name="connsiteY16" fmla="*/ 2319 h 9901"/>
              <a:gd name="connsiteX17" fmla="*/ 3132 w 10000"/>
              <a:gd name="connsiteY17" fmla="*/ 2370 h 9901"/>
              <a:gd name="connsiteX18" fmla="*/ 3594 w 10000"/>
              <a:gd name="connsiteY18" fmla="*/ 2476 h 9901"/>
              <a:gd name="connsiteX19" fmla="*/ 4120 w 10000"/>
              <a:gd name="connsiteY19" fmla="*/ 2626 h 9901"/>
              <a:gd name="connsiteX20" fmla="*/ 4129 w 10000"/>
              <a:gd name="connsiteY20" fmla="*/ 2626 h 9901"/>
              <a:gd name="connsiteX21" fmla="*/ 4138 w 10000"/>
              <a:gd name="connsiteY21" fmla="*/ 2634 h 9901"/>
              <a:gd name="connsiteX22" fmla="*/ 4129 w 10000"/>
              <a:gd name="connsiteY22" fmla="*/ 2626 h 9901"/>
              <a:gd name="connsiteX23" fmla="*/ 4138 w 10000"/>
              <a:gd name="connsiteY23" fmla="*/ 2626 h 9901"/>
              <a:gd name="connsiteX24" fmla="*/ 4176 w 10000"/>
              <a:gd name="connsiteY24" fmla="*/ 2645 h 9901"/>
              <a:gd name="connsiteX25" fmla="*/ 4250 w 10000"/>
              <a:gd name="connsiteY25" fmla="*/ 2668 h 9901"/>
              <a:gd name="connsiteX26" fmla="*/ 4407 w 10000"/>
              <a:gd name="connsiteY26" fmla="*/ 2720 h 9901"/>
              <a:gd name="connsiteX27" fmla="*/ 4693 w 10000"/>
              <a:gd name="connsiteY27" fmla="*/ 2830 h 9901"/>
              <a:gd name="connsiteX28" fmla="*/ 5904 w 10000"/>
              <a:gd name="connsiteY28" fmla="*/ 3396 h 9901"/>
              <a:gd name="connsiteX29" fmla="*/ 7123 w 10000"/>
              <a:gd name="connsiteY29" fmla="*/ 4233 h 9901"/>
              <a:gd name="connsiteX30" fmla="*/ 8203 w 10000"/>
              <a:gd name="connsiteY30" fmla="*/ 5355 h 9901"/>
              <a:gd name="connsiteX31" fmla="*/ 8962 w 10000"/>
              <a:gd name="connsiteY31" fmla="*/ 6722 h 9901"/>
              <a:gd name="connsiteX32" fmla="*/ 9211 w 10000"/>
              <a:gd name="connsiteY32" fmla="*/ 8225 h 9901"/>
              <a:gd name="connsiteX33" fmla="*/ 9100 w 10000"/>
              <a:gd name="connsiteY33" fmla="*/ 8971 h 9901"/>
              <a:gd name="connsiteX34" fmla="*/ 9054 w 10000"/>
              <a:gd name="connsiteY34" fmla="*/ 9148 h 9901"/>
              <a:gd name="connsiteX35" fmla="*/ 8989 w 10000"/>
              <a:gd name="connsiteY35" fmla="*/ 9324 h 9901"/>
              <a:gd name="connsiteX36" fmla="*/ 8971 w 10000"/>
              <a:gd name="connsiteY36" fmla="*/ 9374 h 9901"/>
              <a:gd name="connsiteX37" fmla="*/ 8971 w 10000"/>
              <a:gd name="connsiteY37" fmla="*/ 9382 h 9901"/>
              <a:gd name="connsiteX38" fmla="*/ 8971 w 10000"/>
              <a:gd name="connsiteY38" fmla="*/ 9388 h 9901"/>
              <a:gd name="connsiteX39" fmla="*/ 8971 w 10000"/>
              <a:gd name="connsiteY39" fmla="*/ 9382 h 9901"/>
              <a:gd name="connsiteX40" fmla="*/ 8962 w 10000"/>
              <a:gd name="connsiteY40" fmla="*/ 9404 h 9901"/>
              <a:gd name="connsiteX41" fmla="*/ 8915 w 10000"/>
              <a:gd name="connsiteY41" fmla="*/ 9498 h 9901"/>
              <a:gd name="connsiteX42" fmla="*/ 8841 w 10000"/>
              <a:gd name="connsiteY42" fmla="*/ 9673 h 9901"/>
              <a:gd name="connsiteX43" fmla="*/ 9367 w 10000"/>
              <a:gd name="connsiteY43" fmla="*/ 9901 h 9901"/>
              <a:gd name="connsiteX44" fmla="*/ 9470 w 10000"/>
              <a:gd name="connsiteY44" fmla="*/ 9724 h 9901"/>
              <a:gd name="connsiteX45" fmla="*/ 9516 w 10000"/>
              <a:gd name="connsiteY45" fmla="*/ 9639 h 9901"/>
              <a:gd name="connsiteX46" fmla="*/ 9534 w 10000"/>
              <a:gd name="connsiteY46" fmla="*/ 9615 h 9901"/>
              <a:gd name="connsiteX47" fmla="*/ 9552 w 10000"/>
              <a:gd name="connsiteY47" fmla="*/ 9582 h 9901"/>
              <a:gd name="connsiteX48" fmla="*/ 9571 w 10000"/>
              <a:gd name="connsiteY48" fmla="*/ 9530 h 9901"/>
              <a:gd name="connsiteX49" fmla="*/ 9664 w 10000"/>
              <a:gd name="connsiteY49" fmla="*/ 9340 h 9901"/>
              <a:gd name="connsiteX50" fmla="*/ 9737 w 10000"/>
              <a:gd name="connsiteY50" fmla="*/ 9129 h 9901"/>
              <a:gd name="connsiteX51" fmla="*/ 9959 w 10000"/>
              <a:gd name="connsiteY51" fmla="*/ 8284 h 9901"/>
              <a:gd name="connsiteX52" fmla="*/ 9848 w 10000"/>
              <a:gd name="connsiteY52" fmla="*/ 6501 h 9901"/>
              <a:gd name="connsiteX0" fmla="*/ 9848 w 10000"/>
              <a:gd name="connsiteY0" fmla="*/ 6566 h 10000"/>
              <a:gd name="connsiteX1" fmla="*/ 9136 w 10000"/>
              <a:gd name="connsiteY1" fmla="*/ 4886 h 10000"/>
              <a:gd name="connsiteX2" fmla="*/ 8028 w 10000"/>
              <a:gd name="connsiteY2" fmla="*/ 3474 h 10000"/>
              <a:gd name="connsiteX3" fmla="*/ 6716 w 10000"/>
              <a:gd name="connsiteY3" fmla="*/ 2368 h 10000"/>
              <a:gd name="connsiteX4" fmla="*/ 5359 w 10000"/>
              <a:gd name="connsiteY4" fmla="*/ 1575 h 10000"/>
              <a:gd name="connsiteX5" fmla="*/ 5035 w 10000"/>
              <a:gd name="connsiteY5" fmla="*/ 1412 h 10000"/>
              <a:gd name="connsiteX6" fmla="*/ 4888 w 10000"/>
              <a:gd name="connsiteY6" fmla="*/ 1343 h 10000"/>
              <a:gd name="connsiteX7" fmla="*/ 4822 w 10000"/>
              <a:gd name="connsiteY7" fmla="*/ 1318 h 10000"/>
              <a:gd name="connsiteX8" fmla="*/ 4785 w 10000"/>
              <a:gd name="connsiteY8" fmla="*/ 1302 h 10000"/>
              <a:gd name="connsiteX9" fmla="*/ 4730 w 10000"/>
              <a:gd name="connsiteY9" fmla="*/ 1277 h 10000"/>
              <a:gd name="connsiteX10" fmla="*/ 4138 w 10000"/>
              <a:gd name="connsiteY10" fmla="*/ 1049 h 10000"/>
              <a:gd name="connsiteX11" fmla="*/ 3603 w 10000"/>
              <a:gd name="connsiteY11" fmla="*/ 869 h 10000"/>
              <a:gd name="connsiteX12" fmla="*/ 3178 w 10000"/>
              <a:gd name="connsiteY12" fmla="*/ 760 h 10000"/>
              <a:gd name="connsiteX13" fmla="*/ 3326 w 10000"/>
              <a:gd name="connsiteY13" fmla="*/ 0 h 10000"/>
              <a:gd name="connsiteX14" fmla="*/ 0 w 10000"/>
              <a:gd name="connsiteY14" fmla="*/ 1099 h 10000"/>
              <a:gd name="connsiteX15" fmla="*/ 2697 w 10000"/>
              <a:gd name="connsiteY15" fmla="*/ 3180 h 10000"/>
              <a:gd name="connsiteX16" fmla="*/ 2864 w 10000"/>
              <a:gd name="connsiteY16" fmla="*/ 2342 h 10000"/>
              <a:gd name="connsiteX17" fmla="*/ 3132 w 10000"/>
              <a:gd name="connsiteY17" fmla="*/ 2394 h 10000"/>
              <a:gd name="connsiteX18" fmla="*/ 3594 w 10000"/>
              <a:gd name="connsiteY18" fmla="*/ 2501 h 10000"/>
              <a:gd name="connsiteX19" fmla="*/ 4120 w 10000"/>
              <a:gd name="connsiteY19" fmla="*/ 2652 h 10000"/>
              <a:gd name="connsiteX20" fmla="*/ 4129 w 10000"/>
              <a:gd name="connsiteY20" fmla="*/ 2652 h 10000"/>
              <a:gd name="connsiteX21" fmla="*/ 4138 w 10000"/>
              <a:gd name="connsiteY21" fmla="*/ 2660 h 10000"/>
              <a:gd name="connsiteX22" fmla="*/ 4129 w 10000"/>
              <a:gd name="connsiteY22" fmla="*/ 2652 h 10000"/>
              <a:gd name="connsiteX23" fmla="*/ 4138 w 10000"/>
              <a:gd name="connsiteY23" fmla="*/ 2652 h 10000"/>
              <a:gd name="connsiteX24" fmla="*/ 4176 w 10000"/>
              <a:gd name="connsiteY24" fmla="*/ 2671 h 10000"/>
              <a:gd name="connsiteX25" fmla="*/ 4250 w 10000"/>
              <a:gd name="connsiteY25" fmla="*/ 2695 h 10000"/>
              <a:gd name="connsiteX26" fmla="*/ 4407 w 10000"/>
              <a:gd name="connsiteY26" fmla="*/ 2747 h 10000"/>
              <a:gd name="connsiteX27" fmla="*/ 4693 w 10000"/>
              <a:gd name="connsiteY27" fmla="*/ 2858 h 10000"/>
              <a:gd name="connsiteX28" fmla="*/ 5904 w 10000"/>
              <a:gd name="connsiteY28" fmla="*/ 3430 h 10000"/>
              <a:gd name="connsiteX29" fmla="*/ 7123 w 10000"/>
              <a:gd name="connsiteY29" fmla="*/ 4275 h 10000"/>
              <a:gd name="connsiteX30" fmla="*/ 8203 w 10000"/>
              <a:gd name="connsiteY30" fmla="*/ 5409 h 10000"/>
              <a:gd name="connsiteX31" fmla="*/ 8962 w 10000"/>
              <a:gd name="connsiteY31" fmla="*/ 6789 h 10000"/>
              <a:gd name="connsiteX32" fmla="*/ 9211 w 10000"/>
              <a:gd name="connsiteY32" fmla="*/ 8307 h 10000"/>
              <a:gd name="connsiteX33" fmla="*/ 9100 w 10000"/>
              <a:gd name="connsiteY33" fmla="*/ 9061 h 10000"/>
              <a:gd name="connsiteX34" fmla="*/ 9054 w 10000"/>
              <a:gd name="connsiteY34" fmla="*/ 9239 h 10000"/>
              <a:gd name="connsiteX35" fmla="*/ 8989 w 10000"/>
              <a:gd name="connsiteY35" fmla="*/ 9417 h 10000"/>
              <a:gd name="connsiteX36" fmla="*/ 8971 w 10000"/>
              <a:gd name="connsiteY36" fmla="*/ 9468 h 10000"/>
              <a:gd name="connsiteX37" fmla="*/ 8971 w 10000"/>
              <a:gd name="connsiteY37" fmla="*/ 9476 h 10000"/>
              <a:gd name="connsiteX38" fmla="*/ 8971 w 10000"/>
              <a:gd name="connsiteY38" fmla="*/ 9482 h 10000"/>
              <a:gd name="connsiteX39" fmla="*/ 8971 w 10000"/>
              <a:gd name="connsiteY39" fmla="*/ 9476 h 10000"/>
              <a:gd name="connsiteX40" fmla="*/ 8962 w 10000"/>
              <a:gd name="connsiteY40" fmla="*/ 9498 h 10000"/>
              <a:gd name="connsiteX41" fmla="*/ 8915 w 10000"/>
              <a:gd name="connsiteY41" fmla="*/ 9593 h 10000"/>
              <a:gd name="connsiteX42" fmla="*/ 8841 w 10000"/>
              <a:gd name="connsiteY42" fmla="*/ 9770 h 10000"/>
              <a:gd name="connsiteX43" fmla="*/ 9367 w 10000"/>
              <a:gd name="connsiteY43" fmla="*/ 10000 h 10000"/>
              <a:gd name="connsiteX44" fmla="*/ 9516 w 10000"/>
              <a:gd name="connsiteY44" fmla="*/ 9735 h 10000"/>
              <a:gd name="connsiteX45" fmla="*/ 9534 w 10000"/>
              <a:gd name="connsiteY45" fmla="*/ 9711 h 10000"/>
              <a:gd name="connsiteX46" fmla="*/ 9552 w 10000"/>
              <a:gd name="connsiteY46" fmla="*/ 9678 h 10000"/>
              <a:gd name="connsiteX47" fmla="*/ 9571 w 10000"/>
              <a:gd name="connsiteY47" fmla="*/ 9625 h 10000"/>
              <a:gd name="connsiteX48" fmla="*/ 9664 w 10000"/>
              <a:gd name="connsiteY48" fmla="*/ 9433 h 10000"/>
              <a:gd name="connsiteX49" fmla="*/ 9737 w 10000"/>
              <a:gd name="connsiteY49" fmla="*/ 9220 h 10000"/>
              <a:gd name="connsiteX50" fmla="*/ 9959 w 10000"/>
              <a:gd name="connsiteY50" fmla="*/ 8367 h 10000"/>
              <a:gd name="connsiteX51" fmla="*/ 9848 w 10000"/>
              <a:gd name="connsiteY51" fmla="*/ 6566 h 10000"/>
              <a:gd name="connsiteX0" fmla="*/ 9848 w 10000"/>
              <a:gd name="connsiteY0" fmla="*/ 6566 h 10001"/>
              <a:gd name="connsiteX1" fmla="*/ 9136 w 10000"/>
              <a:gd name="connsiteY1" fmla="*/ 4886 h 10001"/>
              <a:gd name="connsiteX2" fmla="*/ 8028 w 10000"/>
              <a:gd name="connsiteY2" fmla="*/ 3474 h 10001"/>
              <a:gd name="connsiteX3" fmla="*/ 6716 w 10000"/>
              <a:gd name="connsiteY3" fmla="*/ 2368 h 10001"/>
              <a:gd name="connsiteX4" fmla="*/ 5359 w 10000"/>
              <a:gd name="connsiteY4" fmla="*/ 1575 h 10001"/>
              <a:gd name="connsiteX5" fmla="*/ 5035 w 10000"/>
              <a:gd name="connsiteY5" fmla="*/ 1412 h 10001"/>
              <a:gd name="connsiteX6" fmla="*/ 4888 w 10000"/>
              <a:gd name="connsiteY6" fmla="*/ 1343 h 10001"/>
              <a:gd name="connsiteX7" fmla="*/ 4822 w 10000"/>
              <a:gd name="connsiteY7" fmla="*/ 1318 h 10001"/>
              <a:gd name="connsiteX8" fmla="*/ 4785 w 10000"/>
              <a:gd name="connsiteY8" fmla="*/ 1302 h 10001"/>
              <a:gd name="connsiteX9" fmla="*/ 4730 w 10000"/>
              <a:gd name="connsiteY9" fmla="*/ 1277 h 10001"/>
              <a:gd name="connsiteX10" fmla="*/ 4138 w 10000"/>
              <a:gd name="connsiteY10" fmla="*/ 1049 h 10001"/>
              <a:gd name="connsiteX11" fmla="*/ 3603 w 10000"/>
              <a:gd name="connsiteY11" fmla="*/ 869 h 10001"/>
              <a:gd name="connsiteX12" fmla="*/ 3178 w 10000"/>
              <a:gd name="connsiteY12" fmla="*/ 760 h 10001"/>
              <a:gd name="connsiteX13" fmla="*/ 3326 w 10000"/>
              <a:gd name="connsiteY13" fmla="*/ 0 h 10001"/>
              <a:gd name="connsiteX14" fmla="*/ 0 w 10000"/>
              <a:gd name="connsiteY14" fmla="*/ 1099 h 10001"/>
              <a:gd name="connsiteX15" fmla="*/ 2697 w 10000"/>
              <a:gd name="connsiteY15" fmla="*/ 3180 h 10001"/>
              <a:gd name="connsiteX16" fmla="*/ 2864 w 10000"/>
              <a:gd name="connsiteY16" fmla="*/ 2342 h 10001"/>
              <a:gd name="connsiteX17" fmla="*/ 3132 w 10000"/>
              <a:gd name="connsiteY17" fmla="*/ 2394 h 10001"/>
              <a:gd name="connsiteX18" fmla="*/ 3594 w 10000"/>
              <a:gd name="connsiteY18" fmla="*/ 2501 h 10001"/>
              <a:gd name="connsiteX19" fmla="*/ 4120 w 10000"/>
              <a:gd name="connsiteY19" fmla="*/ 2652 h 10001"/>
              <a:gd name="connsiteX20" fmla="*/ 4129 w 10000"/>
              <a:gd name="connsiteY20" fmla="*/ 2652 h 10001"/>
              <a:gd name="connsiteX21" fmla="*/ 4138 w 10000"/>
              <a:gd name="connsiteY21" fmla="*/ 2660 h 10001"/>
              <a:gd name="connsiteX22" fmla="*/ 4129 w 10000"/>
              <a:gd name="connsiteY22" fmla="*/ 2652 h 10001"/>
              <a:gd name="connsiteX23" fmla="*/ 4138 w 10000"/>
              <a:gd name="connsiteY23" fmla="*/ 2652 h 10001"/>
              <a:gd name="connsiteX24" fmla="*/ 4176 w 10000"/>
              <a:gd name="connsiteY24" fmla="*/ 2671 h 10001"/>
              <a:gd name="connsiteX25" fmla="*/ 4250 w 10000"/>
              <a:gd name="connsiteY25" fmla="*/ 2695 h 10001"/>
              <a:gd name="connsiteX26" fmla="*/ 4407 w 10000"/>
              <a:gd name="connsiteY26" fmla="*/ 2747 h 10001"/>
              <a:gd name="connsiteX27" fmla="*/ 4693 w 10000"/>
              <a:gd name="connsiteY27" fmla="*/ 2858 h 10001"/>
              <a:gd name="connsiteX28" fmla="*/ 5904 w 10000"/>
              <a:gd name="connsiteY28" fmla="*/ 3430 h 10001"/>
              <a:gd name="connsiteX29" fmla="*/ 7123 w 10000"/>
              <a:gd name="connsiteY29" fmla="*/ 4275 h 10001"/>
              <a:gd name="connsiteX30" fmla="*/ 8203 w 10000"/>
              <a:gd name="connsiteY30" fmla="*/ 5409 h 10001"/>
              <a:gd name="connsiteX31" fmla="*/ 8962 w 10000"/>
              <a:gd name="connsiteY31" fmla="*/ 6789 h 10001"/>
              <a:gd name="connsiteX32" fmla="*/ 9211 w 10000"/>
              <a:gd name="connsiteY32" fmla="*/ 8307 h 10001"/>
              <a:gd name="connsiteX33" fmla="*/ 9100 w 10000"/>
              <a:gd name="connsiteY33" fmla="*/ 9061 h 10001"/>
              <a:gd name="connsiteX34" fmla="*/ 9054 w 10000"/>
              <a:gd name="connsiteY34" fmla="*/ 9239 h 10001"/>
              <a:gd name="connsiteX35" fmla="*/ 8989 w 10000"/>
              <a:gd name="connsiteY35" fmla="*/ 9417 h 10001"/>
              <a:gd name="connsiteX36" fmla="*/ 8971 w 10000"/>
              <a:gd name="connsiteY36" fmla="*/ 9468 h 10001"/>
              <a:gd name="connsiteX37" fmla="*/ 8971 w 10000"/>
              <a:gd name="connsiteY37" fmla="*/ 9476 h 10001"/>
              <a:gd name="connsiteX38" fmla="*/ 8971 w 10000"/>
              <a:gd name="connsiteY38" fmla="*/ 9482 h 10001"/>
              <a:gd name="connsiteX39" fmla="*/ 8971 w 10000"/>
              <a:gd name="connsiteY39" fmla="*/ 9476 h 10001"/>
              <a:gd name="connsiteX40" fmla="*/ 8962 w 10000"/>
              <a:gd name="connsiteY40" fmla="*/ 9498 h 10001"/>
              <a:gd name="connsiteX41" fmla="*/ 8915 w 10000"/>
              <a:gd name="connsiteY41" fmla="*/ 9593 h 10001"/>
              <a:gd name="connsiteX42" fmla="*/ 9367 w 10000"/>
              <a:gd name="connsiteY42" fmla="*/ 10000 h 10001"/>
              <a:gd name="connsiteX43" fmla="*/ 9516 w 10000"/>
              <a:gd name="connsiteY43" fmla="*/ 9735 h 10001"/>
              <a:gd name="connsiteX44" fmla="*/ 9534 w 10000"/>
              <a:gd name="connsiteY44" fmla="*/ 9711 h 10001"/>
              <a:gd name="connsiteX45" fmla="*/ 9552 w 10000"/>
              <a:gd name="connsiteY45" fmla="*/ 9678 h 10001"/>
              <a:gd name="connsiteX46" fmla="*/ 9571 w 10000"/>
              <a:gd name="connsiteY46" fmla="*/ 9625 h 10001"/>
              <a:gd name="connsiteX47" fmla="*/ 9664 w 10000"/>
              <a:gd name="connsiteY47" fmla="*/ 9433 h 10001"/>
              <a:gd name="connsiteX48" fmla="*/ 9737 w 10000"/>
              <a:gd name="connsiteY48" fmla="*/ 9220 h 10001"/>
              <a:gd name="connsiteX49" fmla="*/ 9959 w 10000"/>
              <a:gd name="connsiteY49" fmla="*/ 8367 h 10001"/>
              <a:gd name="connsiteX50" fmla="*/ 9848 w 10000"/>
              <a:gd name="connsiteY50" fmla="*/ 6566 h 1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0000" h="10001">
                <a:moveTo>
                  <a:pt x="9848" y="6566"/>
                </a:moveTo>
                <a:cubicBezTo>
                  <a:pt x="9701" y="5977"/>
                  <a:pt x="9451" y="5401"/>
                  <a:pt x="9136" y="4886"/>
                </a:cubicBezTo>
                <a:cubicBezTo>
                  <a:pt x="8823" y="4359"/>
                  <a:pt x="8434" y="3895"/>
                  <a:pt x="8028" y="3474"/>
                </a:cubicBezTo>
                <a:cubicBezTo>
                  <a:pt x="7612" y="3052"/>
                  <a:pt x="7160" y="2678"/>
                  <a:pt x="6716" y="2368"/>
                </a:cubicBezTo>
                <a:cubicBezTo>
                  <a:pt x="6254" y="2053"/>
                  <a:pt x="5811" y="1793"/>
                  <a:pt x="5359" y="1575"/>
                </a:cubicBezTo>
                <a:cubicBezTo>
                  <a:pt x="5247" y="1514"/>
                  <a:pt x="5128" y="1452"/>
                  <a:pt x="5035" y="1412"/>
                </a:cubicBezTo>
                <a:cubicBezTo>
                  <a:pt x="4989" y="1397"/>
                  <a:pt x="4943" y="1368"/>
                  <a:pt x="4888" y="1343"/>
                </a:cubicBezTo>
                <a:cubicBezTo>
                  <a:pt x="4866" y="1333"/>
                  <a:pt x="4844" y="1327"/>
                  <a:pt x="4822" y="1318"/>
                </a:cubicBezTo>
                <a:cubicBezTo>
                  <a:pt x="4810" y="1313"/>
                  <a:pt x="4797" y="1308"/>
                  <a:pt x="4785" y="1302"/>
                </a:cubicBezTo>
                <a:cubicBezTo>
                  <a:pt x="4767" y="1293"/>
                  <a:pt x="4748" y="1286"/>
                  <a:pt x="4730" y="1277"/>
                </a:cubicBezTo>
                <a:cubicBezTo>
                  <a:pt x="4518" y="1200"/>
                  <a:pt x="4323" y="1115"/>
                  <a:pt x="4138" y="1049"/>
                </a:cubicBezTo>
                <a:cubicBezTo>
                  <a:pt x="3945" y="988"/>
                  <a:pt x="3760" y="929"/>
                  <a:pt x="3603" y="869"/>
                </a:cubicBezTo>
                <a:cubicBezTo>
                  <a:pt x="3456" y="827"/>
                  <a:pt x="3307" y="794"/>
                  <a:pt x="3178" y="760"/>
                </a:cubicBezTo>
                <a:cubicBezTo>
                  <a:pt x="3227" y="507"/>
                  <a:pt x="3277" y="251"/>
                  <a:pt x="3326" y="0"/>
                </a:cubicBezTo>
                <a:lnTo>
                  <a:pt x="0" y="1099"/>
                </a:lnTo>
                <a:lnTo>
                  <a:pt x="2697" y="3180"/>
                </a:lnTo>
                <a:cubicBezTo>
                  <a:pt x="2753" y="2901"/>
                  <a:pt x="2808" y="2622"/>
                  <a:pt x="2864" y="2342"/>
                </a:cubicBezTo>
                <a:cubicBezTo>
                  <a:pt x="2947" y="2360"/>
                  <a:pt x="3030" y="2368"/>
                  <a:pt x="3132" y="2394"/>
                </a:cubicBezTo>
                <a:lnTo>
                  <a:pt x="3594" y="2501"/>
                </a:lnTo>
                <a:cubicBezTo>
                  <a:pt x="3760" y="2545"/>
                  <a:pt x="3936" y="2597"/>
                  <a:pt x="4120" y="2652"/>
                </a:cubicBezTo>
                <a:lnTo>
                  <a:pt x="4129" y="2652"/>
                </a:lnTo>
                <a:cubicBezTo>
                  <a:pt x="4132" y="2654"/>
                  <a:pt x="4135" y="2657"/>
                  <a:pt x="4138" y="2660"/>
                </a:cubicBezTo>
                <a:cubicBezTo>
                  <a:pt x="4111" y="2645"/>
                  <a:pt x="4138" y="2652"/>
                  <a:pt x="4129" y="2652"/>
                </a:cubicBezTo>
                <a:lnTo>
                  <a:pt x="4138" y="2652"/>
                </a:lnTo>
                <a:cubicBezTo>
                  <a:pt x="4150" y="2657"/>
                  <a:pt x="4163" y="2665"/>
                  <a:pt x="4176" y="2671"/>
                </a:cubicBezTo>
                <a:lnTo>
                  <a:pt x="4250" y="2695"/>
                </a:lnTo>
                <a:cubicBezTo>
                  <a:pt x="4296" y="2715"/>
                  <a:pt x="4351" y="2730"/>
                  <a:pt x="4407" y="2747"/>
                </a:cubicBezTo>
                <a:cubicBezTo>
                  <a:pt x="4508" y="2789"/>
                  <a:pt x="4591" y="2824"/>
                  <a:pt x="4693" y="2858"/>
                </a:cubicBezTo>
                <a:cubicBezTo>
                  <a:pt x="5072" y="3000"/>
                  <a:pt x="5488" y="3195"/>
                  <a:pt x="5904" y="3430"/>
                </a:cubicBezTo>
                <a:cubicBezTo>
                  <a:pt x="6309" y="3671"/>
                  <a:pt x="6735" y="3946"/>
                  <a:pt x="7123" y="4275"/>
                </a:cubicBezTo>
                <a:cubicBezTo>
                  <a:pt x="7511" y="4614"/>
                  <a:pt x="7889" y="4988"/>
                  <a:pt x="8203" y="5409"/>
                </a:cubicBezTo>
                <a:cubicBezTo>
                  <a:pt x="8518" y="5832"/>
                  <a:pt x="8777" y="6296"/>
                  <a:pt x="8962" y="6789"/>
                </a:cubicBezTo>
                <a:cubicBezTo>
                  <a:pt x="9136" y="7277"/>
                  <a:pt x="9229" y="7793"/>
                  <a:pt x="9211" y="8307"/>
                </a:cubicBezTo>
                <a:cubicBezTo>
                  <a:pt x="9202" y="8563"/>
                  <a:pt x="9155" y="8815"/>
                  <a:pt x="9100" y="9061"/>
                </a:cubicBezTo>
                <a:cubicBezTo>
                  <a:pt x="9085" y="9120"/>
                  <a:pt x="9069" y="9179"/>
                  <a:pt x="9054" y="9239"/>
                </a:cubicBezTo>
                <a:cubicBezTo>
                  <a:pt x="9032" y="9297"/>
                  <a:pt x="9011" y="9357"/>
                  <a:pt x="8989" y="9417"/>
                </a:cubicBezTo>
                <a:cubicBezTo>
                  <a:pt x="8983" y="9433"/>
                  <a:pt x="8977" y="9451"/>
                  <a:pt x="8971" y="9468"/>
                </a:cubicBezTo>
                <a:lnTo>
                  <a:pt x="8971" y="9476"/>
                </a:lnTo>
                <a:lnTo>
                  <a:pt x="8971" y="9482"/>
                </a:lnTo>
                <a:cubicBezTo>
                  <a:pt x="8962" y="9490"/>
                  <a:pt x="8971" y="9476"/>
                  <a:pt x="8971" y="9476"/>
                </a:cubicBezTo>
                <a:cubicBezTo>
                  <a:pt x="8968" y="9483"/>
                  <a:pt x="8965" y="9491"/>
                  <a:pt x="8962" y="9498"/>
                </a:cubicBezTo>
                <a:cubicBezTo>
                  <a:pt x="8947" y="9532"/>
                  <a:pt x="8931" y="9561"/>
                  <a:pt x="8915" y="9593"/>
                </a:cubicBezTo>
                <a:cubicBezTo>
                  <a:pt x="8982" y="9677"/>
                  <a:pt x="9267" y="9976"/>
                  <a:pt x="9367" y="10000"/>
                </a:cubicBezTo>
                <a:cubicBezTo>
                  <a:pt x="9467" y="10024"/>
                  <a:pt x="9488" y="9783"/>
                  <a:pt x="9516" y="9735"/>
                </a:cubicBezTo>
                <a:cubicBezTo>
                  <a:pt x="9544" y="9687"/>
                  <a:pt x="9528" y="9721"/>
                  <a:pt x="9534" y="9711"/>
                </a:cubicBezTo>
                <a:cubicBezTo>
                  <a:pt x="9540" y="9701"/>
                  <a:pt x="9546" y="9689"/>
                  <a:pt x="9552" y="9678"/>
                </a:cubicBezTo>
                <a:cubicBezTo>
                  <a:pt x="9558" y="9661"/>
                  <a:pt x="9565" y="9643"/>
                  <a:pt x="9571" y="9625"/>
                </a:cubicBezTo>
                <a:cubicBezTo>
                  <a:pt x="9602" y="9561"/>
                  <a:pt x="9633" y="9496"/>
                  <a:pt x="9664" y="9433"/>
                </a:cubicBezTo>
                <a:cubicBezTo>
                  <a:pt x="9688" y="9361"/>
                  <a:pt x="9713" y="9291"/>
                  <a:pt x="9737" y="9220"/>
                </a:cubicBezTo>
                <a:cubicBezTo>
                  <a:pt x="9839" y="8952"/>
                  <a:pt x="9922" y="8664"/>
                  <a:pt x="9959" y="8367"/>
                </a:cubicBezTo>
                <a:cubicBezTo>
                  <a:pt x="10042" y="7767"/>
                  <a:pt x="9996" y="7159"/>
                  <a:pt x="9848" y="6566"/>
                </a:cubicBezTo>
              </a:path>
            </a:pathLst>
          </a:custGeom>
          <a:solidFill>
            <a:srgbClr val="FF0000"/>
          </a:solidFill>
          <a:ln>
            <a:noFill/>
          </a:ln>
        </p:spPr>
        <p:txBody>
          <a:bodyPr vert="horz" wrap="square" lIns="98753" tIns="49377" rIns="98753" bIns="49377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87552">
              <a:defRPr/>
            </a:pPr>
            <a:endParaRPr lang="fr-FR" sz="1944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9742BA-6302-F16D-D971-2B518B2CF860}"/>
              </a:ext>
            </a:extLst>
          </p:cNvPr>
          <p:cNvSpPr txBox="1"/>
          <p:nvPr/>
        </p:nvSpPr>
        <p:spPr>
          <a:xfrm>
            <a:off x="641317" y="537239"/>
            <a:ext cx="10624690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800" b="1" dirty="0">
                <a:latin typeface="Calibri"/>
                <a:ea typeface="Calibri"/>
                <a:cs typeface="Proxima Nova"/>
              </a:rPr>
              <a:t>The Supply Chain Resilience Lifecycle: </a:t>
            </a:r>
          </a:p>
          <a:p>
            <a:pPr algn="ctr"/>
            <a:r>
              <a:rPr lang="en-US" sz="2800" b="1" dirty="0">
                <a:latin typeface="Calibri"/>
                <a:ea typeface="Calibri"/>
                <a:cs typeface="Proxima Nova"/>
              </a:rPr>
              <a:t>Proactive and Reactive Phases </a:t>
            </a:r>
          </a:p>
        </p:txBody>
      </p:sp>
      <p:sp>
        <p:nvSpPr>
          <p:cNvPr id="150" name="Chevron 3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F9F3EE-0E13-1666-1134-84963EC54AA4}"/>
              </a:ext>
            </a:extLst>
          </p:cNvPr>
          <p:cNvSpPr/>
          <p:nvPr/>
        </p:nvSpPr>
        <p:spPr>
          <a:xfrm rot="12702876">
            <a:off x="5335929" y="4400242"/>
            <a:ext cx="328116" cy="466115"/>
          </a:xfrm>
          <a:prstGeom prst="chevron">
            <a:avLst/>
          </a:prstGeom>
          <a:solidFill>
            <a:srgbClr val="D9D9D9"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87552">
              <a:defRPr/>
            </a:pPr>
            <a:endParaRPr lang="en-US" sz="1944" kern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52" name="Chevron 3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1F9F3EE-0E13-1666-1134-84963EC54AA4}"/>
              </a:ext>
            </a:extLst>
          </p:cNvPr>
          <p:cNvSpPr/>
          <p:nvPr/>
        </p:nvSpPr>
        <p:spPr>
          <a:xfrm rot="12702876">
            <a:off x="4421175" y="3829526"/>
            <a:ext cx="328116" cy="466115"/>
          </a:xfrm>
          <a:prstGeom prst="chevron">
            <a:avLst/>
          </a:prstGeom>
          <a:solidFill>
            <a:srgbClr val="D9D9D9">
              <a:alpha val="2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87552">
              <a:defRPr/>
            </a:pPr>
            <a:endParaRPr lang="en-US" sz="1944" kern="0">
              <a:solidFill>
                <a:prstClr val="black"/>
              </a:solidFill>
              <a:latin typeface="Calibri" panose="020F0502020204030204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76" descr="1206951209103034_Breakthrough_Supply_Chains_Branded_Slides_and_Graphic-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41" name="Slide Number Placeholder 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83D9439-1A53-614D-95B1-85AD40CEBB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2055813" y="1024845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2000" kern="1200">
                <a:solidFill>
                  <a:srgbClr val="FEFFFF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0C178F8-BD83-434D-9A2C-AFD41C08F9CD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3E8A9C5-986D-EA45-8EA8-DD4F7FA848BC}"/>
              </a:ext>
            </a:extLst>
          </p:cNvPr>
          <p:cNvSpPr txBox="1">
            <a:spLocks/>
          </p:cNvSpPr>
          <p:nvPr/>
        </p:nvSpPr>
        <p:spPr>
          <a:xfrm>
            <a:off x="3143887" y="1467418"/>
            <a:ext cx="6172200" cy="157710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algn="ctr">
              <a:spcBef>
                <a:spcPct val="0"/>
              </a:spcBef>
              <a:defRPr/>
            </a:pPr>
            <a:r>
              <a:rPr kumimoji="0" lang="en-US" sz="2000" b="1" i="0" u="none" strike="noStrike" kern="1200" cap="none" spc="0" normalizeH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The Broad Umbrella</a:t>
            </a:r>
            <a:r>
              <a:rPr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  <a:t/>
            </a:r>
            <a:br>
              <a:rPr lang="en-US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</a:b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ESG: Environment &amp; Sustainability, Social and Governance</a:t>
            </a:r>
            <a:r>
              <a:rPr lang="en-US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  <a:t/>
            </a:r>
            <a:br>
              <a:rPr lang="en-US" sz="17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</a:b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CSR: Corporate Social Responsibility</a:t>
            </a:r>
            <a:endParaRPr lang="en-US" sz="1500">
              <a:solidFill>
                <a:schemeClr val="tx1">
                  <a:lumMod val="85000"/>
                  <a:lumOff val="15000"/>
                </a:schemeClr>
              </a:solidFill>
              <a:latin typeface="Calibri"/>
              <a:ea typeface="Calibri"/>
              <a:cs typeface="Proxima Nova"/>
            </a:endParaRPr>
          </a:p>
          <a:p>
            <a:pPr algn="ctr">
              <a:spcBef>
                <a:spcPct val="0"/>
              </a:spcBef>
              <a:defRPr/>
            </a:pPr>
            <a:r>
              <a:rPr lang="en-US" sz="1500" i="1" dirty="0">
                <a:latin typeface="Calibri"/>
                <a:ea typeface="+mj-ea"/>
                <a:cs typeface="Proxima Nova"/>
              </a:rPr>
              <a:t>(ESG and CSR are often used interchangeably)</a:t>
            </a:r>
            <a:r>
              <a:rPr lang="en-US" sz="15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  <a:t/>
            </a:r>
            <a:br>
              <a:rPr lang="en-US" sz="15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j-ea"/>
                <a:cs typeface="Proxima Nova"/>
              </a:rPr>
            </a:br>
            <a:endParaRPr lang="en-US" sz="17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Calibri"/>
              <a:ea typeface="Calibri"/>
              <a:cs typeface="Proxima Nova"/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010AC66-FED5-694C-8B87-2B55A5EABD72}"/>
              </a:ext>
            </a:extLst>
          </p:cNvPr>
          <p:cNvGrpSpPr/>
          <p:nvPr/>
        </p:nvGrpSpPr>
        <p:grpSpPr>
          <a:xfrm>
            <a:off x="2597818" y="2628759"/>
            <a:ext cx="2355182" cy="2884730"/>
            <a:chOff x="381000" y="1396219"/>
            <a:chExt cx="2667000" cy="3846307"/>
          </a:xfrm>
          <a:solidFill>
            <a:srgbClr val="B9CDE5"/>
          </a:solidFill>
        </p:grpSpPr>
        <p:grpSp>
          <p:nvGrpSpPr>
            <p:cNvPr id="44" name="Group 1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3377CBA-0D91-8F43-82FF-47ECCEDD401F}"/>
                </a:ext>
              </a:extLst>
            </p:cNvPr>
            <p:cNvGrpSpPr/>
            <p:nvPr/>
          </p:nvGrpSpPr>
          <p:grpSpPr>
            <a:xfrm>
              <a:off x="381000" y="1396219"/>
              <a:ext cx="2667000" cy="3846307"/>
              <a:chOff x="381000" y="1396219"/>
              <a:chExt cx="2667000" cy="3846307"/>
            </a:xfrm>
            <a:grpFill/>
          </p:grpSpPr>
          <p:sp>
            <p:nvSpPr>
              <p:cNvPr id="46" name="Rectangle 5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EAF9F880-1590-A047-A25F-36262A25CC31}"/>
                  </a:ext>
                </a:extLst>
              </p:cNvPr>
              <p:cNvSpPr/>
              <p:nvPr/>
            </p:nvSpPr>
            <p:spPr>
              <a:xfrm>
                <a:off x="381000" y="1396219"/>
                <a:ext cx="2667000" cy="3846307"/>
              </a:xfrm>
              <a:prstGeom prst="rect">
                <a:avLst/>
              </a:prstGeom>
              <a:grpFill/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94D253D-BF76-9F4C-BDFE-F27DE481AF55}"/>
                  </a:ext>
                </a:extLst>
              </p:cNvPr>
              <p:cNvSpPr txBox="1"/>
              <p:nvPr/>
            </p:nvSpPr>
            <p:spPr>
              <a:xfrm>
                <a:off x="609600" y="1409024"/>
                <a:ext cx="2286000" cy="73866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500" dirty="0">
                    <a:latin typeface="Proxima Nova"/>
                    <a:cs typeface="Proxima Nova"/>
                  </a:rPr>
                  <a:t>Environment &amp; Sustainability</a:t>
                </a:r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CDF0C73-D282-3F4B-B2CF-5A7029566A7F}"/>
                  </a:ext>
                </a:extLst>
              </p:cNvPr>
              <p:cNvSpPr txBox="1"/>
              <p:nvPr/>
            </p:nvSpPr>
            <p:spPr>
              <a:xfrm>
                <a:off x="513578" y="2330896"/>
                <a:ext cx="2421113" cy="2831544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De-Forestation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Green House Gas Emission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Carbon Emission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Resource Depletion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Water Shortages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Pollution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Waste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Disposal &amp; Landfills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Climate Change</a:t>
                </a:r>
              </a:p>
              <a:p>
                <a:pPr marL="214313" indent="-214313">
                  <a:buFont typeface="Arial" panose="020B0604020202020204" pitchFamily="34" charset="0"/>
                  <a:buChar char="•"/>
                </a:pPr>
                <a:r>
                  <a:rPr lang="en-US" sz="1200" dirty="0">
                    <a:latin typeface="Proxima Nova"/>
                    <a:cs typeface="Proxima Nova"/>
                  </a:rPr>
                  <a:t>Endangered Species</a:t>
                </a:r>
              </a:p>
            </p:txBody>
          </p:sp>
        </p:grp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0564BB79-5B6F-9E48-9435-51A58413CED9}"/>
                </a:ext>
              </a:extLst>
            </p:cNvPr>
            <p:cNvCxnSpPr/>
            <p:nvPr/>
          </p:nvCxnSpPr>
          <p:spPr>
            <a:xfrm>
              <a:off x="381000" y="2174310"/>
              <a:ext cx="2667000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9" name="Group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1FAB325-3FB2-ACEE-991C-3343774149FE}"/>
              </a:ext>
            </a:extLst>
          </p:cNvPr>
          <p:cNvGrpSpPr/>
          <p:nvPr/>
        </p:nvGrpSpPr>
        <p:grpSpPr>
          <a:xfrm>
            <a:off x="5037943" y="2640373"/>
            <a:ext cx="2520529" cy="2873117"/>
            <a:chOff x="4685255" y="2061414"/>
            <a:chExt cx="3360705" cy="3830822"/>
          </a:xfrm>
          <a:solidFill>
            <a:schemeClr val="accent2">
              <a:lumMod val="20000"/>
              <a:lumOff val="80000"/>
            </a:schemeClr>
          </a:solidFill>
        </p:grpSpPr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33D25D9-10EB-3745-95F3-6BB5EFBDF528}"/>
                </a:ext>
              </a:extLst>
            </p:cNvPr>
            <p:cNvSpPr/>
            <p:nvPr/>
          </p:nvSpPr>
          <p:spPr>
            <a:xfrm>
              <a:off x="4685255" y="2061414"/>
              <a:ext cx="3360705" cy="383082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F6E5A7-275A-D449-99BE-4DC316D925C9}"/>
                </a:ext>
              </a:extLst>
            </p:cNvPr>
            <p:cNvSpPr txBox="1"/>
            <p:nvPr/>
          </p:nvSpPr>
          <p:spPr>
            <a:xfrm>
              <a:off x="5877030" y="2277050"/>
              <a:ext cx="920764" cy="430887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500" dirty="0">
                  <a:latin typeface="Proxima Nova"/>
                  <a:cs typeface="Proxima Nova"/>
                </a:rPr>
                <a:t>Social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5B10FF-8911-3847-8145-9307043D9EF5}"/>
                </a:ext>
              </a:extLst>
            </p:cNvPr>
            <p:cNvSpPr txBox="1"/>
            <p:nvPr/>
          </p:nvSpPr>
          <p:spPr>
            <a:xfrm>
              <a:off x="4830549" y="3016396"/>
              <a:ext cx="2869661" cy="2831543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ILO Standards Adherence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Worker exploitation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Slavery &amp; Forced Labor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Working Condition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Conflict Mineral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Health &amp; Safety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Living Wage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Good Citizenship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Local Jobs &amp; Investment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Restricted Substances &amp; Product Integrity</a:t>
              </a:r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5696F074-6368-B040-8F7F-9E0A778BA221}"/>
                </a:ext>
              </a:extLst>
            </p:cNvPr>
            <p:cNvCxnSpPr>
              <a:cxnSpLocks/>
            </p:cNvCxnSpPr>
            <p:nvPr/>
          </p:nvCxnSpPr>
          <p:spPr>
            <a:xfrm>
              <a:off x="4685255" y="2811494"/>
              <a:ext cx="3360705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97E630-B087-D145-AEF8-8A3343DEC6DB}"/>
              </a:ext>
            </a:extLst>
          </p:cNvPr>
          <p:cNvGrpSpPr/>
          <p:nvPr/>
        </p:nvGrpSpPr>
        <p:grpSpPr>
          <a:xfrm>
            <a:off x="7658976" y="2642544"/>
            <a:ext cx="2028450" cy="2873117"/>
            <a:chOff x="6210800" y="1399673"/>
            <a:chExt cx="2704600" cy="3830822"/>
          </a:xfrm>
          <a:solidFill>
            <a:srgbClr val="F2DCDB"/>
          </a:solidFill>
        </p:grpSpPr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D71D0219-A4B9-0F49-B148-220AAD81BFFA}"/>
                </a:ext>
              </a:extLst>
            </p:cNvPr>
            <p:cNvSpPr/>
            <p:nvPr/>
          </p:nvSpPr>
          <p:spPr>
            <a:xfrm>
              <a:off x="6210800" y="1399673"/>
              <a:ext cx="2667000" cy="3830822"/>
            </a:xfrm>
            <a:prstGeom prst="rect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50C4D20-9D34-7F4F-BBD5-EAE84210073B}"/>
                </a:ext>
              </a:extLst>
            </p:cNvPr>
            <p:cNvSpPr txBox="1"/>
            <p:nvPr/>
          </p:nvSpPr>
          <p:spPr>
            <a:xfrm>
              <a:off x="6756811" y="1585297"/>
              <a:ext cx="1619673" cy="430887"/>
            </a:xfrm>
            <a:prstGeom prst="rect">
              <a:avLst/>
            </a:prstGeom>
            <a:grp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US" sz="1500" dirty="0">
                  <a:latin typeface="Proxima Nova"/>
                  <a:cs typeface="Proxima Nova"/>
                </a:rPr>
                <a:t>Governance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AF16D725-1CF5-2F4B-B6BB-3F1E46193465}"/>
                </a:ext>
              </a:extLst>
            </p:cNvPr>
            <p:cNvSpPr txBox="1"/>
            <p:nvPr/>
          </p:nvSpPr>
          <p:spPr>
            <a:xfrm>
              <a:off x="6288001" y="2351762"/>
              <a:ext cx="2444559" cy="209288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Corruption &amp; Bribery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Executive and employee income inequality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Political Activism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Lobbying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Taxes</a:t>
              </a:r>
            </a:p>
            <a:p>
              <a:pPr marL="214313" indent="-214313">
                <a:buFont typeface="Arial" panose="020B0604020202020204" pitchFamily="34" charset="0"/>
                <a:buChar char="•"/>
              </a:pPr>
              <a:r>
                <a:rPr lang="en-US" sz="1200" dirty="0">
                  <a:latin typeface="Proxima Nova"/>
                  <a:cs typeface="Proxima Nova"/>
                </a:rPr>
                <a:t>“Dumping”</a:t>
              </a: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907D47B4-221C-0849-BE1B-4CFDC18CEF0F}"/>
                </a:ext>
              </a:extLst>
            </p:cNvPr>
            <p:cNvCxnSpPr/>
            <p:nvPr/>
          </p:nvCxnSpPr>
          <p:spPr>
            <a:xfrm>
              <a:off x="6248400" y="2161784"/>
              <a:ext cx="2667000" cy="0"/>
            </a:xfrm>
            <a:prstGeom prst="line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9" name="Title 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14C64F2E-05E7-0520-6A41-7B9C5A269C07}"/>
              </a:ext>
            </a:extLst>
          </p:cNvPr>
          <p:cNvSpPr txBox="1">
            <a:spLocks/>
          </p:cNvSpPr>
          <p:nvPr/>
        </p:nvSpPr>
        <p:spPr>
          <a:xfrm>
            <a:off x="2309974" y="616363"/>
            <a:ext cx="7845866" cy="425415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ctr"/>
            <a:r>
              <a:rPr lang="en-US" sz="2400" b="1" dirty="0">
                <a:latin typeface="Proxima Nova"/>
                <a:cs typeface="Proxima Nova"/>
              </a:rPr>
              <a:t>Supply Chain Sustainability: The term has often been abused - so we’ll use pragmatic definitions</a:t>
            </a:r>
          </a:p>
        </p:txBody>
      </p:sp>
      <p:sp>
        <p:nvSpPr>
          <p:cNvPr id="60" name="Up Arrow 59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7D2B0E82-5DFE-3886-8046-BCEF2C814F2E}"/>
              </a:ext>
            </a:extLst>
          </p:cNvPr>
          <p:cNvSpPr/>
          <p:nvPr/>
        </p:nvSpPr>
        <p:spPr>
          <a:xfrm>
            <a:off x="2886206" y="5513490"/>
            <a:ext cx="2066795" cy="497839"/>
          </a:xfrm>
          <a:prstGeom prst="up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Proxima Nova"/>
                <a:cs typeface="Proxima Nova"/>
              </a:rPr>
              <a:t>Green</a:t>
            </a:r>
          </a:p>
        </p:txBody>
      </p:sp>
      <p:sp>
        <p:nvSpPr>
          <p:cNvPr id="61" name="Up Arrow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CE17B618-FA9E-0115-681A-3C1F3BAD5591}"/>
              </a:ext>
            </a:extLst>
          </p:cNvPr>
          <p:cNvSpPr/>
          <p:nvPr/>
        </p:nvSpPr>
        <p:spPr>
          <a:xfrm>
            <a:off x="5264809" y="5513490"/>
            <a:ext cx="2066795" cy="497839"/>
          </a:xfrm>
          <a:prstGeom prst="upArrow">
            <a:avLst/>
          </a:prstGeom>
          <a:solidFill>
            <a:schemeClr val="tx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Proxima Nova"/>
                <a:cs typeface="Proxima Nova"/>
              </a:rPr>
              <a:t>Social</a:t>
            </a:r>
          </a:p>
        </p:txBody>
      </p:sp>
      <p:sp>
        <p:nvSpPr>
          <p:cNvPr id="62" name="Up Arrow 61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65266858-21C4-C0D5-51BE-1F69FEDFF844}"/>
              </a:ext>
            </a:extLst>
          </p:cNvPr>
          <p:cNvSpPr/>
          <p:nvPr/>
        </p:nvSpPr>
        <p:spPr>
          <a:xfrm>
            <a:off x="7575452" y="5525154"/>
            <a:ext cx="2066795" cy="486175"/>
          </a:xfrm>
          <a:prstGeom prst="upArrow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2400"/>
              </a:spcAft>
            </a:pPr>
            <a:r>
              <a:rPr lang="en-US" sz="1500" b="1" dirty="0">
                <a:solidFill>
                  <a:schemeClr val="tx1"/>
                </a:solidFill>
                <a:latin typeface="Proxima Nova"/>
                <a:cs typeface="Proxima Nova"/>
              </a:rPr>
              <a:t>Political &amp; Socia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2" grpId="0"/>
      <p:bldP spid="60" grpId="0" animBg="1"/>
      <p:bldP spid="61" grpId="0" animBg="1"/>
      <p:bldP spid="6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" name="Picture 76" descr="1206951209103034_Breakthrough_Supply_Chains_Branded_Slides_and_Graphic-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41" name="Rectangle 708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2A7CA937-9431-1AC3-471F-9004979DC692}"/>
              </a:ext>
            </a:extLst>
          </p:cNvPr>
          <p:cNvSpPr txBox="1">
            <a:spLocks noChangeArrowheads="1"/>
          </p:cNvSpPr>
          <p:nvPr/>
        </p:nvSpPr>
        <p:spPr>
          <a:xfrm>
            <a:off x="3017280" y="887997"/>
            <a:ext cx="6686312" cy="3747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85000"/>
                    <a:lumOff val="15000"/>
                  </a:schemeClr>
                </a:solidFill>
                <a:effectLst/>
                <a:uLnTx/>
                <a:uFillTx/>
                <a:latin typeface="Calibri"/>
                <a:ea typeface="Calibri"/>
                <a:cs typeface="Proxima Nova"/>
              </a:rPr>
              <a:t>The Evolution in Global Supply Chains</a:t>
            </a:r>
            <a:endParaRPr lang="en-US" sz="2800" b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85000"/>
                  <a:lumOff val="15000"/>
                </a:schemeClr>
              </a:solidFill>
              <a:effectLst/>
              <a:uLnTx/>
              <a:uFillTx/>
              <a:latin typeface="Calibri"/>
              <a:ea typeface="Calibri"/>
              <a:cs typeface="Proxima Nova"/>
            </a:endParaRPr>
          </a:p>
        </p:txBody>
      </p:sp>
      <p:graphicFrame>
        <p:nvGraphicFramePr>
          <p:cNvPr id="42" name="Table 2">
            <a:extLst>
              <a:ext uri="{FF2B5EF4-FFF2-40B4-BE49-F238E27FC236}">
                <a16:creation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id="{850F976D-8BCF-A0D4-64C4-E2F8BA1AE1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41644606"/>
              </p:ext>
            </p:extLst>
          </p:nvPr>
        </p:nvGraphicFramePr>
        <p:xfrm>
          <a:off x="2328331" y="1699286"/>
          <a:ext cx="7169690" cy="423644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3401">
                  <a:extLst>
                    <a:ext uri="{9D8B030D-6E8A-4147-A177-3AD203B41FA5}">
                      <a16:col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val="2120207580"/>
                    </a:ext>
                  </a:extLst>
                </a:gridCol>
                <a:gridCol w="2609864">
                  <a:extLst>
                    <a:ext uri="{9D8B030D-6E8A-4147-A177-3AD203B41FA5}">
                      <a16:col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val="4192488444"/>
                    </a:ext>
                  </a:extLst>
                </a:gridCol>
                <a:gridCol w="2486425">
                  <a:extLst>
                    <a:ext uri="{9D8B030D-6E8A-4147-A177-3AD203B41FA5}">
                      <a16:col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val="2389626334"/>
                    </a:ext>
                  </a:extLst>
                </a:gridCol>
              </a:tblGrid>
              <a:tr h="40206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Proxima Nova"/>
                          <a:ea typeface="ＭＳ Ｐゴシック" charset="0"/>
                          <a:cs typeface="Proxima Nova"/>
                        </a:rPr>
                        <a:t>Operational Cost Optimization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3483" marR="63483" marT="31742" marB="3174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Proxima Nova"/>
                          <a:ea typeface="ＭＳ Ｐゴシック" charset="0"/>
                          <a:cs typeface="Proxima Nova"/>
                        </a:rPr>
                        <a:t>Cost and Working Capital Minimization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3483" marR="63483" marT="31742" marB="31742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bg1"/>
                          </a:solidFill>
                          <a:latin typeface="Proxima Nova"/>
                          <a:ea typeface="ＭＳ Ｐゴシック" charset="0"/>
                          <a:cs typeface="Proxima Nova"/>
                        </a:rPr>
                        <a:t>Customer Life Cycle - Centric</a:t>
                      </a:r>
                    </a:p>
                    <a:p>
                      <a:pPr algn="ctr"/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 marL="63483" marR="63483" marT="31742" marB="31742"/>
                </a:tc>
                <a:extLst>
                  <a:ext uri="{0D108BD9-81ED-4DB2-BD59-A6C34878D82A}">
                    <a16:row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val="2710476524"/>
                  </a:ext>
                </a:extLst>
              </a:tr>
              <a:tr h="3834384">
                <a:tc>
                  <a:txBody>
                    <a:bodyPr/>
                    <a:lstStyle/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Push-Based Systems, little customer focus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Transaction technologies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Build-to-Stock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Inventory is a hedge against uncertainty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Functional/Departmental perspective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Control over operations/Vertical integration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No visibility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Ignore variability</a:t>
                      </a:r>
                    </a:p>
                    <a:p>
                      <a:pPr marL="234950" indent="-234950">
                        <a:spcBef>
                          <a:spcPct val="10000"/>
                        </a:spcBef>
                        <a:buClr>
                          <a:srgbClr val="006600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Focus on cost per unit</a:t>
                      </a:r>
                    </a:p>
                  </a:txBody>
                  <a:tcPr marL="63483" marR="63483" marT="31742" marB="31742"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Just-in-Tine Systems, customer obsession – all customers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Enterprise Resource planning systems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Build-to-Order/Forecast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Enterprise perspective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Inventory is reduced to a minimum and kept moving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Variability restricted to demand and lead times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charset="0"/>
                        <a:buChar char="l"/>
                        <a:defRPr/>
                      </a:pPr>
                      <a:r>
                        <a:rPr lang="en-US" sz="950" dirty="0">
                          <a:latin typeface="Proxima Nova"/>
                          <a:ea typeface="ＭＳ Ｐゴシック" charset="0"/>
                          <a:cs typeface="Proxima Nova"/>
                        </a:rPr>
                        <a:t>Intellectual Property and conformance to local social and communication demands - for preferred conditions and  market access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pitchFamily="2" charset="2"/>
                        <a:buChar char="l"/>
                      </a:pPr>
                      <a:r>
                        <a:rPr lang="en-US" altLang="en-US" sz="950" dirty="0">
                          <a:latin typeface="Proxima Nova"/>
                          <a:cs typeface="Proxima Nova"/>
                        </a:rPr>
                        <a:t>Outsourcing of peripheral (</a:t>
                      </a:r>
                      <a:r>
                        <a:rPr lang="ja-JP" altLang="en-US" sz="950" dirty="0">
                          <a:latin typeface="Proxima Nova"/>
                          <a:cs typeface="Proxima Nova"/>
                        </a:rPr>
                        <a:t>“</a:t>
                      </a:r>
                      <a:r>
                        <a:rPr lang="en-US" altLang="ja-JP" sz="950" dirty="0">
                          <a:latin typeface="Proxima Nova"/>
                          <a:cs typeface="Proxima Nova"/>
                        </a:rPr>
                        <a:t>non-core</a:t>
                      </a:r>
                      <a:r>
                        <a:rPr lang="ja-JP" altLang="en-US" sz="950" dirty="0">
                          <a:latin typeface="Proxima Nova"/>
                          <a:cs typeface="Proxima Nova"/>
                        </a:rPr>
                        <a:t>”</a:t>
                      </a:r>
                      <a:r>
                        <a:rPr lang="en-US" altLang="ja-JP" sz="950" dirty="0">
                          <a:latin typeface="Proxima Nova"/>
                          <a:cs typeface="Proxima Nova"/>
                        </a:rPr>
                        <a:t>) processes – soon to assume all core processes – for lowest costs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pitchFamily="2" charset="2"/>
                        <a:buChar char="l"/>
                      </a:pPr>
                      <a:r>
                        <a:rPr lang="en-US" altLang="en-US" sz="950" dirty="0">
                          <a:latin typeface="Proxima Nova"/>
                          <a:cs typeface="Proxima Nova"/>
                        </a:rPr>
                        <a:t>Links in the chain thin and vulnerable to disruption</a:t>
                      </a:r>
                    </a:p>
                    <a:p>
                      <a:pPr marL="236538" indent="-236538">
                        <a:spcBef>
                          <a:spcPct val="10000"/>
                        </a:spcBef>
                        <a:buClr>
                          <a:srgbClr val="0000CC"/>
                        </a:buClr>
                        <a:buSzPct val="70000"/>
                        <a:buFont typeface="Wingdings" pitchFamily="2" charset="2"/>
                        <a:buChar char="l"/>
                      </a:pPr>
                      <a:r>
                        <a:rPr lang="en-US" altLang="en-US" sz="950" dirty="0">
                          <a:latin typeface="Proxima Nova"/>
                          <a:cs typeface="Proxima Nova"/>
                        </a:rPr>
                        <a:t>Focus on Total Landed Costs</a:t>
                      </a:r>
                    </a:p>
                    <a:p>
                      <a:endParaRPr lang="en-US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483" marR="63483" marT="31742" marB="31742">
                    <a:solidFill>
                      <a:srgbClr val="F2DCDB"/>
                    </a:solidFill>
                  </a:tcPr>
                </a:tc>
                <a:tc>
                  <a:txBody>
                    <a:bodyPr/>
                    <a:lstStyle/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Customer Experience Life Cycle-Centric and Supply aware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Understanding Customer Buying patterns, needs and emotions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Intelligent and Robotics-driven systems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“Regionalization” and shorter supply chains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Postponement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Eco-system perspective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Adaptive: high sense and respond - the extended supply chain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inventory is used strategically</a:t>
                      </a:r>
                    </a:p>
                    <a:p>
                      <a:pPr marL="287338" indent="-287338" algn="l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Simultaneous focus – profitability, liquidity, growth, capability, cash - to-cash – Total supply chain costs</a:t>
                      </a:r>
                    </a:p>
                    <a:p>
                      <a:pPr marL="287338" indent="-287338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National Security parameters</a:t>
                      </a:r>
                    </a:p>
                    <a:p>
                      <a:pPr marL="287338" indent="-287338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Actively manages risk – redundancy, national security, ESG</a:t>
                      </a:r>
                    </a:p>
                    <a:p>
                      <a:pPr marL="287338" indent="-287338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Customers segmented, with Costs-to-Serve</a:t>
                      </a:r>
                    </a:p>
                    <a:p>
                      <a:pPr marL="287338" indent="-287338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High end-to-end visibility</a:t>
                      </a:r>
                    </a:p>
                    <a:p>
                      <a:pPr marL="287338" indent="-287338" eaLnBrk="1" hangingPunct="1">
                        <a:spcBef>
                          <a:spcPct val="10000"/>
                        </a:spcBef>
                        <a:buClr>
                          <a:srgbClr val="800000"/>
                        </a:buClr>
                        <a:buSzPct val="70000"/>
                        <a:buFont typeface="Wingdings" pitchFamily="2" charset="2"/>
                        <a:buChar char="l"/>
                        <a:tabLst/>
                      </a:pPr>
                      <a:r>
                        <a:rPr lang="en-US" altLang="en-US" sz="950" b="0" dirty="0">
                          <a:solidFill>
                            <a:schemeClr val="tx1"/>
                          </a:solidFill>
                          <a:latin typeface="Proxima Nova"/>
                          <a:cs typeface="Proxima Nova"/>
                        </a:rPr>
                        <a:t>Supports distributed, adaptive operations</a:t>
                      </a:r>
                    </a:p>
                  </a:txBody>
                  <a:tcPr marL="63483" marR="63483" marT="31742" marB="31742">
                    <a:solidFill>
                      <a:srgbClr val="F2DCD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:p="http://schemas.openxmlformats.org/presentationml/2006/main" xmlns:r="http://schemas.openxmlformats.org/officeDocument/2006/relationships" xmlns:a="http://schemas.openxmlformats.org/drawingml/2006/main" xmlns="" val="91640401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DIAGRAM_RELATIONSHIP_CIRCLES_KEY" val="POWER_USER_DIAGRAM_RELATIONSHIP_CIRCLES_VALUE_5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DIAGRAM_RELATIONSHIP_CIRCLES_KEY" val="POWER_USER_DIAGRAM_RELATIONSHIP_CIRCLES_VALUE_5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DIAGRAM_RELATIONSHIP_CIRCLES_KEY" val="POWER_USER_DIAGRAM_RELATIONSHIP_CIRCLES_VALUE_5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DIAGRAM_RELATIONSHIP_CIRCLES_KEY" val="POWER_USER_DIAGRAM_RELATIONSHIP_CIRCLES_VALUE_5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TAGS_ICONS" val="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TAGS_ICONS" val="firewall*network-security*network*security*cybersecurity*antivirus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TAGS_ICONS" val="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POWER_USER_TAGS_ICONS" val="love_POWER_USER_SEPARATOR_ICONS_affection_POWER_USER_SEPARATOR_ICONS_health_POWER_USER_SEPARATOR_ICONS_mind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75</TotalTime>
  <Words>811</Words>
  <Application>Microsoft Macintosh PowerPoint</Application>
  <PresentationFormat>Custom</PresentationFormat>
  <Paragraphs>182</Paragraphs>
  <Slides>7</Slides>
  <Notes>0</Notes>
  <HiddenSlides>0</HiddenSlides>
  <MMClips>0</MMClips>
  <ScaleCrop>false</ScaleCrop>
  <HeadingPairs>
    <vt:vector size="4" baseType="variant">
      <vt:variant>
        <vt:lpstr>Design Templat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8" baseType="lpstr">
      <vt:lpstr>Office Theme</vt:lpstr>
      <vt:lpstr>Breakthrough Supply Chains:  How Companies And Nations  Can Thrive And Prosper In An  Uncertain World  Gopal, Tyndall, Iakovou, Partsch  ISBN: 978-1-264-98966-9 •  e-ISBN: 978-1-264-99188-4</vt:lpstr>
      <vt:lpstr>Slide 2</vt:lpstr>
      <vt:lpstr>Slide 3</vt:lpstr>
      <vt:lpstr>Slide 4</vt:lpstr>
      <vt:lpstr>Slide 5</vt:lpstr>
      <vt:lpstr>Slide 6</vt:lpstr>
      <vt:lpstr>Slide 7</vt:lpstr>
    </vt:vector>
  </TitlesOfParts>
  <Company>Client System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hristopher Chew</dc:creator>
  <cp:lastModifiedBy>Christopher Chew</cp:lastModifiedBy>
  <cp:revision>87</cp:revision>
  <dcterms:created xsi:type="dcterms:W3CDTF">2024-04-03T01:00:42Z</dcterms:created>
  <dcterms:modified xsi:type="dcterms:W3CDTF">2024-04-03T01:08:21Z</dcterms:modified>
</cp:coreProperties>
</file>